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omments/comment1.xml" ContentType="application/vnd.openxmlformats-officedocument.presentationml.comments+xml"/>
  <Override PartName="/ppt/tags/tag22.xml" ContentType="application/vnd.openxmlformats-officedocument.presentationml.tags+xml"/>
  <Override PartName="/ppt/tags/tag23.xml" ContentType="application/vnd.openxmlformats-officedocument.presentationml.tags+xml"/>
  <Override PartName="/ppt/comments/comment2.xml" ContentType="application/vnd.openxmlformats-officedocument.presentationml.comments+xml"/>
  <Override PartName="/ppt/tags/tag24.xml" ContentType="application/vnd.openxmlformats-officedocument.presentationml.tags+xml"/>
  <Override PartName="/ppt/tags/tag2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56.xml" ContentType="application/vnd.openxmlformats-officedocument.presentationml.tags+xml"/>
  <Override PartName="/ppt/tags/tag57.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64.xml" ContentType="application/vnd.openxmlformats-officedocument.presentationml.tags+xml"/>
  <Override PartName="/ppt/tags/tag65.xml" ContentType="application/vnd.openxmlformats-officedocument.presentationml.tags+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66.xml" ContentType="application/vnd.openxmlformats-officedocument.presentationml.tags+xml"/>
  <Override PartName="/ppt/tags/tag67.xml" ContentType="application/vnd.openxmlformats-officedocument.presentationml.tags+xml"/>
  <Override PartName="/ppt/notesSlides/notesSlide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68.xml" ContentType="application/vnd.openxmlformats-officedocument.presentationml.tags+xml"/>
  <Override PartName="/ppt/tags/tag69.xml" ContentType="application/vnd.openxmlformats-officedocument.presentationml.tags+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70.xml" ContentType="application/vnd.openxmlformats-officedocument.presentationml.tags+xml"/>
  <Override PartName="/ppt/tags/tag71.xml" ContentType="application/vnd.openxmlformats-officedocument.presentationml.tags+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72.xml" ContentType="application/vnd.openxmlformats-officedocument.presentationml.tags+xml"/>
  <Override PartName="/ppt/tags/tag73.xml" ContentType="application/vnd.openxmlformats-officedocument.presentationml.tags+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74.xml" ContentType="application/vnd.openxmlformats-officedocument.presentationml.tags+xml"/>
  <Override PartName="/ppt/tags/tag75.xml" ContentType="application/vnd.openxmlformats-officedocument.presentationml.tags+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Lst>
  <p:notesMasterIdLst>
    <p:notesMasterId r:id="rId41"/>
  </p:notesMasterIdLst>
  <p:sldIdLst>
    <p:sldId id="256" r:id="rId5"/>
    <p:sldId id="265" r:id="rId6"/>
    <p:sldId id="266" r:id="rId7"/>
    <p:sldId id="270" r:id="rId8"/>
    <p:sldId id="271" r:id="rId9"/>
    <p:sldId id="272" r:id="rId10"/>
    <p:sldId id="273" r:id="rId11"/>
    <p:sldId id="276" r:id="rId12"/>
    <p:sldId id="274" r:id="rId13"/>
    <p:sldId id="263" r:id="rId14"/>
    <p:sldId id="294" r:id="rId15"/>
    <p:sldId id="314" r:id="rId16"/>
    <p:sldId id="315" r:id="rId17"/>
    <p:sldId id="377" r:id="rId18"/>
    <p:sldId id="378" r:id="rId19"/>
    <p:sldId id="329" r:id="rId20"/>
    <p:sldId id="374" r:id="rId21"/>
    <p:sldId id="349" r:id="rId22"/>
    <p:sldId id="353" r:id="rId23"/>
    <p:sldId id="354" r:id="rId24"/>
    <p:sldId id="376" r:id="rId25"/>
    <p:sldId id="356" r:id="rId26"/>
    <p:sldId id="357" r:id="rId27"/>
    <p:sldId id="358" r:id="rId28"/>
    <p:sldId id="359" r:id="rId29"/>
    <p:sldId id="360" r:id="rId30"/>
    <p:sldId id="361" r:id="rId31"/>
    <p:sldId id="362" r:id="rId32"/>
    <p:sldId id="375" r:id="rId33"/>
    <p:sldId id="351" r:id="rId34"/>
    <p:sldId id="365" r:id="rId35"/>
    <p:sldId id="366" r:id="rId36"/>
    <p:sldId id="367" r:id="rId37"/>
    <p:sldId id="368" r:id="rId38"/>
    <p:sldId id="347" r:id="rId39"/>
    <p:sldId id="373" r:id="rId40"/>
  </p:sldIdLst>
  <p:sldSz cx="12192000" cy="6858000"/>
  <p:notesSz cx="6858000" cy="9144000"/>
  <p:custDataLst>
    <p:tags r:id="rId42"/>
  </p:custDataLst>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Strategie" id="{86D11FCA-5A5D-473E-B597-7B7214B1E014}">
          <p14:sldIdLst>
            <p14:sldId id="256"/>
            <p14:sldId id="265"/>
            <p14:sldId id="266"/>
            <p14:sldId id="270"/>
            <p14:sldId id="271"/>
            <p14:sldId id="272"/>
            <p14:sldId id="273"/>
            <p14:sldId id="276"/>
            <p14:sldId id="274"/>
            <p14:sldId id="263"/>
            <p14:sldId id="294"/>
            <p14:sldId id="314"/>
            <p14:sldId id="315"/>
            <p14:sldId id="377"/>
            <p14:sldId id="378"/>
          </p14:sldIdLst>
        </p14:section>
        <p14:section name="i-Plan" id="{B0EB8F2A-3BDC-4236-884F-F1BE28F42D66}">
          <p14:sldIdLst>
            <p14:sldId id="329"/>
            <p14:sldId id="374"/>
            <p14:sldId id="349"/>
            <p14:sldId id="353"/>
            <p14:sldId id="354"/>
            <p14:sldId id="376"/>
            <p14:sldId id="356"/>
            <p14:sldId id="357"/>
            <p14:sldId id="358"/>
            <p14:sldId id="359"/>
            <p14:sldId id="360"/>
            <p14:sldId id="361"/>
            <p14:sldId id="362"/>
            <p14:sldId id="375"/>
            <p14:sldId id="351"/>
            <p14:sldId id="365"/>
            <p14:sldId id="366"/>
            <p14:sldId id="367"/>
            <p14:sldId id="368"/>
            <p14:sldId id="347"/>
            <p14:sldId id="37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rriaan Vogel" initials="JV" lastIdx="76" clrIdx="0">
    <p:extLst>
      <p:ext uri="{19B8F6BF-5375-455C-9EA6-DF929625EA0E}">
        <p15:presenceInfo xmlns:p15="http://schemas.microsoft.com/office/powerpoint/2012/main" userId="S::j.vogel@supplyvalue.nl::25310751-fb6d-45e8-b695-4b348ca69408" providerId="AD"/>
      </p:ext>
    </p:extLst>
  </p:cmAuthor>
  <p:cmAuthor id="2" name="r.poppel@supplyvalue.nl" initials="r" lastIdx="142" clrIdx="1">
    <p:extLst>
      <p:ext uri="{19B8F6BF-5375-455C-9EA6-DF929625EA0E}">
        <p15:presenceInfo xmlns:p15="http://schemas.microsoft.com/office/powerpoint/2012/main" userId="S::r.poppel@supplyvalue.nl::77ec6a2b-e87e-4511-a2ce-7f84e74194b7" providerId="AD"/>
      </p:ext>
    </p:extLst>
  </p:cmAuthor>
  <p:cmAuthor id="3" name="Renée van Poppel" initials="RvP" lastIdx="6" clrIdx="2">
    <p:extLst>
      <p:ext uri="{19B8F6BF-5375-455C-9EA6-DF929625EA0E}">
        <p15:presenceInfo xmlns:p15="http://schemas.microsoft.com/office/powerpoint/2012/main" userId="S-1-5-21-1373964323-1485945223-2528014958-249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F3F4"/>
    <a:srgbClr val="4C2A1B"/>
    <a:srgbClr val="C00000"/>
    <a:srgbClr val="FF3F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3845A6-4DDF-4DBB-962E-7998B1634275}" v="2" dt="2020-06-10T10:46:45.696"/>
    <p1510:client id="{DBB78996-1AD0-4D90-B5C6-F12FC390713D}" v="137" dt="2020-06-10T08:41:59.37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10" autoAdjust="0"/>
    <p:restoredTop sz="95037" autoAdjust="0"/>
  </p:normalViewPr>
  <p:slideViewPr>
    <p:cSldViewPr snapToGrid="0">
      <p:cViewPr varScale="1">
        <p:scale>
          <a:sx n="82" d="100"/>
          <a:sy n="82" d="100"/>
        </p:scale>
        <p:origin x="966" y="90"/>
      </p:cViewPr>
      <p:guideLst/>
    </p:cSldViewPr>
  </p:slideViewPr>
  <p:outlineViewPr>
    <p:cViewPr>
      <p:scale>
        <a:sx n="33" d="100"/>
        <a:sy n="33" d="100"/>
      </p:scale>
      <p:origin x="0" y="-4542"/>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21-03-02T17:03:58.384" idx="2">
    <p:pos x="7458" y="3130"/>
    <p:text>Zelfhulp: Past dit nog in het licht van alle recente ontwikkelingen? Juist omdat we steeds meer zien dat de burger niet zo goed in staat is om zichzelf te helpen. Gevoelsmatig stralen we hiermee misschien wel de verkeerde boodschap uit.</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1-03-02T17:16:40.283" idx="3">
    <p:pos x="7351" y="1357"/>
    <p:text>Voorheen: en kunnen extern ketenpartners datagedreven geadviseerd worden</p:text>
    <p:extLst>
      <p:ext uri="{C676402C-5697-4E1C-873F-D02D1690AC5C}">
        <p15:threadingInfo xmlns:p15="http://schemas.microsoft.com/office/powerpoint/2012/main" timeZoneBias="-60"/>
      </p:ext>
    </p:extLst>
  </p:cm>
  <p:cm authorId="3" dt="2021-03-02T17:21:05.713" idx="4">
    <p:pos x="3797" y="3620"/>
    <p:text>NIEUW</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CBD008-1683-43CA-B492-9215BBC8DE04}"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nl-NL"/>
        </a:p>
      </dgm:t>
    </dgm:pt>
    <dgm:pt modelId="{E8B6031A-CE7C-470D-B2B5-FF9AE7B24778}">
      <dgm:prSet phldrT="[Tekst]"/>
      <dgm:spPr>
        <a:solidFill>
          <a:srgbClr val="C00000"/>
        </a:solidFill>
      </dgm:spPr>
      <dgm:t>
        <a:bodyPr/>
        <a:lstStyle/>
        <a:p>
          <a:r>
            <a:rPr lang="nl-NL" b="1" dirty="0" smtClean="0"/>
            <a:t>2021</a:t>
          </a:r>
          <a:endParaRPr lang="nl-NL" b="1" dirty="0"/>
        </a:p>
      </dgm:t>
    </dgm:pt>
    <dgm:pt modelId="{2169ACDB-9210-4901-9612-8275061BF351}" type="parTrans" cxnId="{9F184355-F277-4A0D-BA01-34FDCFDCED82}">
      <dgm:prSet/>
      <dgm:spPr/>
      <dgm:t>
        <a:bodyPr/>
        <a:lstStyle/>
        <a:p>
          <a:endParaRPr lang="nl-NL"/>
        </a:p>
      </dgm:t>
    </dgm:pt>
    <dgm:pt modelId="{C15F6928-564B-4D29-8193-49914AE02BF3}" type="sibTrans" cxnId="{9F184355-F277-4A0D-BA01-34FDCFDCED82}">
      <dgm:prSet/>
      <dgm:spPr/>
      <dgm:t>
        <a:bodyPr/>
        <a:lstStyle/>
        <a:p>
          <a:endParaRPr lang="nl-NL"/>
        </a:p>
      </dgm:t>
    </dgm:pt>
    <dgm:pt modelId="{76B33D9A-B7F7-44AB-90CB-35F7275F1156}">
      <dgm:prSet phldrT="[Tekst]"/>
      <dgm:spPr>
        <a:solidFill>
          <a:srgbClr val="C00000">
            <a:alpha val="90000"/>
          </a:srgbClr>
        </a:solidFill>
      </dgm:spPr>
      <dgm:t>
        <a:bodyPr/>
        <a:lstStyle/>
        <a:p>
          <a:r>
            <a:rPr lang="nl-NL" b="1">
              <a:solidFill>
                <a:schemeClr val="bg1"/>
              </a:solidFill>
            </a:rPr>
            <a:t>Actielijnen</a:t>
          </a:r>
        </a:p>
      </dgm:t>
    </dgm:pt>
    <dgm:pt modelId="{D7A44DEF-269D-4ED6-9F87-CB3E7630AC42}" type="parTrans" cxnId="{AD86CCFB-4D3D-4C00-B37C-5DB34681A85B}">
      <dgm:prSet/>
      <dgm:spPr/>
      <dgm:t>
        <a:bodyPr/>
        <a:lstStyle/>
        <a:p>
          <a:endParaRPr lang="nl-NL"/>
        </a:p>
      </dgm:t>
    </dgm:pt>
    <dgm:pt modelId="{4C2777C0-49E4-4299-8373-DDA8E557337D}" type="sibTrans" cxnId="{AD86CCFB-4D3D-4C00-B37C-5DB34681A85B}">
      <dgm:prSet/>
      <dgm:spPr/>
      <dgm:t>
        <a:bodyPr/>
        <a:lstStyle/>
        <a:p>
          <a:endParaRPr lang="nl-NL"/>
        </a:p>
      </dgm:t>
    </dgm:pt>
    <dgm:pt modelId="{6375E91C-1FB6-4889-85DB-169BCF73FA74}">
      <dgm:prSet phldrT="[Tekst]"/>
      <dgm:spPr>
        <a:solidFill>
          <a:srgbClr val="C00000"/>
        </a:solidFill>
      </dgm:spPr>
      <dgm:t>
        <a:bodyPr/>
        <a:lstStyle/>
        <a:p>
          <a:r>
            <a:rPr lang="nl-NL" b="1" dirty="0" smtClean="0"/>
            <a:t>2022</a:t>
          </a:r>
          <a:endParaRPr lang="nl-NL" b="1" dirty="0"/>
        </a:p>
      </dgm:t>
    </dgm:pt>
    <dgm:pt modelId="{E8FD2246-D028-46FA-BB61-BE0B33F047FF}" type="parTrans" cxnId="{67FD0A66-25AE-40FF-B4AB-31030C0F1735}">
      <dgm:prSet/>
      <dgm:spPr/>
      <dgm:t>
        <a:bodyPr/>
        <a:lstStyle/>
        <a:p>
          <a:endParaRPr lang="nl-NL"/>
        </a:p>
      </dgm:t>
    </dgm:pt>
    <dgm:pt modelId="{2638152E-A11E-45F1-B32B-9D652A760E5F}" type="sibTrans" cxnId="{67FD0A66-25AE-40FF-B4AB-31030C0F1735}">
      <dgm:prSet/>
      <dgm:spPr/>
      <dgm:t>
        <a:bodyPr/>
        <a:lstStyle/>
        <a:p>
          <a:endParaRPr lang="nl-NL"/>
        </a:p>
      </dgm:t>
    </dgm:pt>
    <dgm:pt modelId="{94D93C88-4327-4D87-8C43-36B1CAF48666}">
      <dgm:prSet phldrT="[Tekst]"/>
      <dgm:spPr>
        <a:solidFill>
          <a:srgbClr val="C00000">
            <a:alpha val="90000"/>
          </a:srgbClr>
        </a:solidFill>
      </dgm:spPr>
      <dgm:t>
        <a:bodyPr/>
        <a:lstStyle/>
        <a:p>
          <a:r>
            <a:rPr lang="nl-NL" b="1">
              <a:solidFill>
                <a:schemeClr val="bg1"/>
              </a:solidFill>
            </a:rPr>
            <a:t>Actielijnen</a:t>
          </a:r>
        </a:p>
      </dgm:t>
    </dgm:pt>
    <dgm:pt modelId="{15EED532-1E14-490A-83C3-488305BC9AF4}" type="parTrans" cxnId="{DFBCF9A7-C52F-4081-9B0B-8F4B32B2C9BF}">
      <dgm:prSet/>
      <dgm:spPr/>
      <dgm:t>
        <a:bodyPr/>
        <a:lstStyle/>
        <a:p>
          <a:endParaRPr lang="nl-NL"/>
        </a:p>
      </dgm:t>
    </dgm:pt>
    <dgm:pt modelId="{53086A0D-C593-4326-896B-A9BDA8854962}" type="sibTrans" cxnId="{DFBCF9A7-C52F-4081-9B0B-8F4B32B2C9BF}">
      <dgm:prSet/>
      <dgm:spPr/>
      <dgm:t>
        <a:bodyPr/>
        <a:lstStyle/>
        <a:p>
          <a:endParaRPr lang="nl-NL"/>
        </a:p>
      </dgm:t>
    </dgm:pt>
    <dgm:pt modelId="{CA6E061F-3D8F-4B7E-BE6A-CA3D5A8004D6}">
      <dgm:prSet phldrT="[Tekst]"/>
      <dgm:spPr>
        <a:solidFill>
          <a:srgbClr val="C00000"/>
        </a:solidFill>
      </dgm:spPr>
      <dgm:t>
        <a:bodyPr/>
        <a:lstStyle/>
        <a:p>
          <a:r>
            <a:rPr lang="nl-NL" b="1" dirty="0" smtClean="0"/>
            <a:t>2025</a:t>
          </a:r>
          <a:endParaRPr lang="nl-NL" b="1" dirty="0"/>
        </a:p>
      </dgm:t>
    </dgm:pt>
    <dgm:pt modelId="{2E45CE89-4887-44FD-875B-1BC9B6FF42BE}" type="parTrans" cxnId="{5EA8F68C-954C-4DBD-AC6E-3DAAF88EB7E6}">
      <dgm:prSet/>
      <dgm:spPr/>
      <dgm:t>
        <a:bodyPr/>
        <a:lstStyle/>
        <a:p>
          <a:endParaRPr lang="nl-NL"/>
        </a:p>
      </dgm:t>
    </dgm:pt>
    <dgm:pt modelId="{A05AEE87-DC31-4AF1-8187-441B7EB8D894}" type="sibTrans" cxnId="{5EA8F68C-954C-4DBD-AC6E-3DAAF88EB7E6}">
      <dgm:prSet/>
      <dgm:spPr/>
      <dgm:t>
        <a:bodyPr/>
        <a:lstStyle/>
        <a:p>
          <a:endParaRPr lang="nl-NL"/>
        </a:p>
      </dgm:t>
    </dgm:pt>
    <dgm:pt modelId="{5E0FF3C4-43F2-4996-A55D-0E0B1A5E67F0}">
      <dgm:prSet phldrT="[Tekst]"/>
      <dgm:spPr>
        <a:solidFill>
          <a:srgbClr val="C00000">
            <a:alpha val="90000"/>
          </a:srgbClr>
        </a:solidFill>
      </dgm:spPr>
      <dgm:t>
        <a:bodyPr/>
        <a:lstStyle/>
        <a:p>
          <a:r>
            <a:rPr lang="nl-NL" b="1">
              <a:solidFill>
                <a:schemeClr val="bg1"/>
              </a:solidFill>
            </a:rPr>
            <a:t>Actielijnen</a:t>
          </a:r>
        </a:p>
      </dgm:t>
    </dgm:pt>
    <dgm:pt modelId="{AD8A0F66-A8B8-4654-BCDE-709E0064E3D6}" type="parTrans" cxnId="{A1829390-E481-4232-BC6B-AAB920C5B2A6}">
      <dgm:prSet/>
      <dgm:spPr/>
      <dgm:t>
        <a:bodyPr/>
        <a:lstStyle/>
        <a:p>
          <a:endParaRPr lang="nl-NL"/>
        </a:p>
      </dgm:t>
    </dgm:pt>
    <dgm:pt modelId="{095D209D-5A0F-44C2-A5E5-4E17CA7014B7}" type="sibTrans" cxnId="{A1829390-E481-4232-BC6B-AAB920C5B2A6}">
      <dgm:prSet/>
      <dgm:spPr/>
      <dgm:t>
        <a:bodyPr/>
        <a:lstStyle/>
        <a:p>
          <a:endParaRPr lang="nl-NL"/>
        </a:p>
      </dgm:t>
    </dgm:pt>
    <dgm:pt modelId="{66A8E699-A65A-4BAD-BFFB-92C28736B77B}">
      <dgm:prSet/>
      <dgm:spPr>
        <a:solidFill>
          <a:srgbClr val="C00000"/>
        </a:solidFill>
      </dgm:spPr>
      <dgm:t>
        <a:bodyPr/>
        <a:lstStyle/>
        <a:p>
          <a:r>
            <a:rPr lang="nl-NL" b="1" dirty="0" smtClean="0"/>
            <a:t>2023</a:t>
          </a:r>
          <a:endParaRPr lang="nl-NL" b="1" dirty="0"/>
        </a:p>
      </dgm:t>
    </dgm:pt>
    <dgm:pt modelId="{5ACDECE0-80DA-49F4-9455-0427F36045E9}" type="parTrans" cxnId="{FF09B9BB-CF47-452F-B386-6BA8ADCCFEB7}">
      <dgm:prSet/>
      <dgm:spPr/>
      <dgm:t>
        <a:bodyPr/>
        <a:lstStyle/>
        <a:p>
          <a:endParaRPr lang="nl-NL"/>
        </a:p>
      </dgm:t>
    </dgm:pt>
    <dgm:pt modelId="{DF9E5B5C-E4A8-46DF-9A99-36844912934A}" type="sibTrans" cxnId="{FF09B9BB-CF47-452F-B386-6BA8ADCCFEB7}">
      <dgm:prSet/>
      <dgm:spPr/>
      <dgm:t>
        <a:bodyPr/>
        <a:lstStyle/>
        <a:p>
          <a:endParaRPr lang="nl-NL"/>
        </a:p>
      </dgm:t>
    </dgm:pt>
    <dgm:pt modelId="{E8E52A68-50B5-4987-BE1B-256684A3DB89}">
      <dgm:prSet/>
      <dgm:spPr>
        <a:solidFill>
          <a:srgbClr val="C00000"/>
        </a:solidFill>
      </dgm:spPr>
      <dgm:t>
        <a:bodyPr/>
        <a:lstStyle/>
        <a:p>
          <a:r>
            <a:rPr lang="nl-NL" b="1" dirty="0" smtClean="0"/>
            <a:t>2024</a:t>
          </a:r>
          <a:endParaRPr lang="nl-NL" b="1" dirty="0"/>
        </a:p>
      </dgm:t>
    </dgm:pt>
    <dgm:pt modelId="{2BC36179-7B64-4CDB-A943-8913A5C02AE2}" type="parTrans" cxnId="{1A4B6D8A-0488-42B5-AB16-B674A39F3DE3}">
      <dgm:prSet/>
      <dgm:spPr/>
      <dgm:t>
        <a:bodyPr/>
        <a:lstStyle/>
        <a:p>
          <a:endParaRPr lang="nl-NL"/>
        </a:p>
      </dgm:t>
    </dgm:pt>
    <dgm:pt modelId="{D0C68DD4-3BCE-4805-9494-9B78B439BF9B}" type="sibTrans" cxnId="{1A4B6D8A-0488-42B5-AB16-B674A39F3DE3}">
      <dgm:prSet/>
      <dgm:spPr/>
      <dgm:t>
        <a:bodyPr/>
        <a:lstStyle/>
        <a:p>
          <a:endParaRPr lang="nl-NL"/>
        </a:p>
      </dgm:t>
    </dgm:pt>
    <dgm:pt modelId="{A08B30B7-2D46-49CF-8C8D-C83ECE98E807}">
      <dgm:prSet/>
      <dgm:spPr>
        <a:solidFill>
          <a:srgbClr val="C00000">
            <a:alpha val="90000"/>
          </a:srgbClr>
        </a:solidFill>
      </dgm:spPr>
      <dgm:t>
        <a:bodyPr/>
        <a:lstStyle/>
        <a:p>
          <a:r>
            <a:rPr lang="nl-NL" b="1">
              <a:solidFill>
                <a:schemeClr val="bg1"/>
              </a:solidFill>
            </a:rPr>
            <a:t>Actielijnen</a:t>
          </a:r>
        </a:p>
      </dgm:t>
    </dgm:pt>
    <dgm:pt modelId="{CFC44123-37FF-4E30-982B-4E81F31232CE}" type="parTrans" cxnId="{54C253FE-EA9A-4C36-9099-AED06D412501}">
      <dgm:prSet/>
      <dgm:spPr/>
      <dgm:t>
        <a:bodyPr/>
        <a:lstStyle/>
        <a:p>
          <a:endParaRPr lang="nl-NL"/>
        </a:p>
      </dgm:t>
    </dgm:pt>
    <dgm:pt modelId="{23DABBEF-C615-47AC-B829-FB44DC680111}" type="sibTrans" cxnId="{54C253FE-EA9A-4C36-9099-AED06D412501}">
      <dgm:prSet/>
      <dgm:spPr/>
      <dgm:t>
        <a:bodyPr/>
        <a:lstStyle/>
        <a:p>
          <a:endParaRPr lang="nl-NL"/>
        </a:p>
      </dgm:t>
    </dgm:pt>
    <dgm:pt modelId="{44B08FD9-9B21-4AD1-BBA9-30B4E62AFA62}">
      <dgm:prSet/>
      <dgm:spPr>
        <a:solidFill>
          <a:srgbClr val="C00000">
            <a:alpha val="90000"/>
          </a:srgbClr>
        </a:solidFill>
      </dgm:spPr>
      <dgm:t>
        <a:bodyPr/>
        <a:lstStyle/>
        <a:p>
          <a:r>
            <a:rPr lang="nl-NL" b="1">
              <a:solidFill>
                <a:schemeClr val="bg1"/>
              </a:solidFill>
            </a:rPr>
            <a:t>Actielijnen</a:t>
          </a:r>
        </a:p>
      </dgm:t>
    </dgm:pt>
    <dgm:pt modelId="{E1EF204A-9751-488B-88FA-D7390CBE6AD1}" type="parTrans" cxnId="{BE49BA4D-0F72-4AB1-BEE7-EEB9BD41AEA9}">
      <dgm:prSet/>
      <dgm:spPr/>
      <dgm:t>
        <a:bodyPr/>
        <a:lstStyle/>
        <a:p>
          <a:endParaRPr lang="nl-NL"/>
        </a:p>
      </dgm:t>
    </dgm:pt>
    <dgm:pt modelId="{4FAD98FF-FF95-465B-AC82-7835DB36BEB0}" type="sibTrans" cxnId="{BE49BA4D-0F72-4AB1-BEE7-EEB9BD41AEA9}">
      <dgm:prSet/>
      <dgm:spPr/>
      <dgm:t>
        <a:bodyPr/>
        <a:lstStyle/>
        <a:p>
          <a:endParaRPr lang="nl-NL"/>
        </a:p>
      </dgm:t>
    </dgm:pt>
    <dgm:pt modelId="{731BC381-D940-4C80-8EF6-46B706DEE355}" type="pres">
      <dgm:prSet presAssocID="{8BCBD008-1683-43CA-B492-9215BBC8DE04}" presName="theList" presStyleCnt="0">
        <dgm:presLayoutVars>
          <dgm:dir/>
          <dgm:animLvl val="lvl"/>
          <dgm:resizeHandles val="exact"/>
        </dgm:presLayoutVars>
      </dgm:prSet>
      <dgm:spPr/>
      <dgm:t>
        <a:bodyPr/>
        <a:lstStyle/>
        <a:p>
          <a:endParaRPr lang="nl-NL"/>
        </a:p>
      </dgm:t>
    </dgm:pt>
    <dgm:pt modelId="{2E30FC8D-3DAA-4FFE-9535-070FB167B0DD}" type="pres">
      <dgm:prSet presAssocID="{E8B6031A-CE7C-470D-B2B5-FF9AE7B24778}" presName="compNode" presStyleCnt="0"/>
      <dgm:spPr/>
    </dgm:pt>
    <dgm:pt modelId="{61E6983B-A487-490B-8DA5-41093ABC1EE8}" type="pres">
      <dgm:prSet presAssocID="{E8B6031A-CE7C-470D-B2B5-FF9AE7B24778}" presName="noGeometry" presStyleCnt="0"/>
      <dgm:spPr/>
    </dgm:pt>
    <dgm:pt modelId="{848CD359-C740-481D-BD59-BD2560959613}" type="pres">
      <dgm:prSet presAssocID="{E8B6031A-CE7C-470D-B2B5-FF9AE7B24778}" presName="childTextVisible" presStyleLbl="bgAccFollowNode1" presStyleIdx="0" presStyleCnt="5">
        <dgm:presLayoutVars>
          <dgm:bulletEnabled val="1"/>
        </dgm:presLayoutVars>
      </dgm:prSet>
      <dgm:spPr/>
      <dgm:t>
        <a:bodyPr/>
        <a:lstStyle/>
        <a:p>
          <a:endParaRPr lang="nl-NL"/>
        </a:p>
      </dgm:t>
    </dgm:pt>
    <dgm:pt modelId="{61D9DFE0-5898-4CE9-B8D3-DEF2FE3BFC9F}" type="pres">
      <dgm:prSet presAssocID="{E8B6031A-CE7C-470D-B2B5-FF9AE7B24778}" presName="childTextHidden" presStyleLbl="bgAccFollowNode1" presStyleIdx="0" presStyleCnt="5"/>
      <dgm:spPr/>
      <dgm:t>
        <a:bodyPr/>
        <a:lstStyle/>
        <a:p>
          <a:endParaRPr lang="nl-NL"/>
        </a:p>
      </dgm:t>
    </dgm:pt>
    <dgm:pt modelId="{55E9028A-3A15-49E0-B417-64EB3E37C6C2}" type="pres">
      <dgm:prSet presAssocID="{E8B6031A-CE7C-470D-B2B5-FF9AE7B24778}" presName="parentText" presStyleLbl="node1" presStyleIdx="0" presStyleCnt="5">
        <dgm:presLayoutVars>
          <dgm:chMax val="1"/>
          <dgm:bulletEnabled val="1"/>
        </dgm:presLayoutVars>
      </dgm:prSet>
      <dgm:spPr/>
      <dgm:t>
        <a:bodyPr/>
        <a:lstStyle/>
        <a:p>
          <a:endParaRPr lang="nl-NL"/>
        </a:p>
      </dgm:t>
    </dgm:pt>
    <dgm:pt modelId="{E689F4AE-90E2-40FE-856F-99C249736392}" type="pres">
      <dgm:prSet presAssocID="{E8B6031A-CE7C-470D-B2B5-FF9AE7B24778}" presName="aSpace" presStyleCnt="0"/>
      <dgm:spPr/>
    </dgm:pt>
    <dgm:pt modelId="{1F75858B-0CC3-4663-A12E-0E8A4663835F}" type="pres">
      <dgm:prSet presAssocID="{6375E91C-1FB6-4889-85DB-169BCF73FA74}" presName="compNode" presStyleCnt="0"/>
      <dgm:spPr/>
    </dgm:pt>
    <dgm:pt modelId="{C9950B95-13A9-4DE4-AEB5-C4958E21BC45}" type="pres">
      <dgm:prSet presAssocID="{6375E91C-1FB6-4889-85DB-169BCF73FA74}" presName="noGeometry" presStyleCnt="0"/>
      <dgm:spPr/>
    </dgm:pt>
    <dgm:pt modelId="{A03D105E-E942-4814-86EF-6F8466E86A5A}" type="pres">
      <dgm:prSet presAssocID="{6375E91C-1FB6-4889-85DB-169BCF73FA74}" presName="childTextVisible" presStyleLbl="bgAccFollowNode1" presStyleIdx="1" presStyleCnt="5">
        <dgm:presLayoutVars>
          <dgm:bulletEnabled val="1"/>
        </dgm:presLayoutVars>
      </dgm:prSet>
      <dgm:spPr/>
      <dgm:t>
        <a:bodyPr/>
        <a:lstStyle/>
        <a:p>
          <a:endParaRPr lang="nl-NL"/>
        </a:p>
      </dgm:t>
    </dgm:pt>
    <dgm:pt modelId="{C4A7FB2D-83D5-448F-B354-618CA68801CA}" type="pres">
      <dgm:prSet presAssocID="{6375E91C-1FB6-4889-85DB-169BCF73FA74}" presName="childTextHidden" presStyleLbl="bgAccFollowNode1" presStyleIdx="1" presStyleCnt="5"/>
      <dgm:spPr/>
      <dgm:t>
        <a:bodyPr/>
        <a:lstStyle/>
        <a:p>
          <a:endParaRPr lang="nl-NL"/>
        </a:p>
      </dgm:t>
    </dgm:pt>
    <dgm:pt modelId="{919519EA-FF4D-4ECD-AF3F-B78E59F47AA7}" type="pres">
      <dgm:prSet presAssocID="{6375E91C-1FB6-4889-85DB-169BCF73FA74}" presName="parentText" presStyleLbl="node1" presStyleIdx="1" presStyleCnt="5">
        <dgm:presLayoutVars>
          <dgm:chMax val="1"/>
          <dgm:bulletEnabled val="1"/>
        </dgm:presLayoutVars>
      </dgm:prSet>
      <dgm:spPr/>
      <dgm:t>
        <a:bodyPr/>
        <a:lstStyle/>
        <a:p>
          <a:endParaRPr lang="nl-NL"/>
        </a:p>
      </dgm:t>
    </dgm:pt>
    <dgm:pt modelId="{8C75F4C5-DA0E-4CD4-ACCF-3671FD4E7760}" type="pres">
      <dgm:prSet presAssocID="{6375E91C-1FB6-4889-85DB-169BCF73FA74}" presName="aSpace" presStyleCnt="0"/>
      <dgm:spPr/>
    </dgm:pt>
    <dgm:pt modelId="{296F0538-CCB6-42DD-8467-CC0890C104C2}" type="pres">
      <dgm:prSet presAssocID="{66A8E699-A65A-4BAD-BFFB-92C28736B77B}" presName="compNode" presStyleCnt="0"/>
      <dgm:spPr/>
    </dgm:pt>
    <dgm:pt modelId="{7276EAF5-7EBF-4EDC-993B-4F45CEF635E4}" type="pres">
      <dgm:prSet presAssocID="{66A8E699-A65A-4BAD-BFFB-92C28736B77B}" presName="noGeometry" presStyleCnt="0"/>
      <dgm:spPr/>
    </dgm:pt>
    <dgm:pt modelId="{AE452D30-1D83-4F07-9646-72A3204B66DA}" type="pres">
      <dgm:prSet presAssocID="{66A8E699-A65A-4BAD-BFFB-92C28736B77B}" presName="childTextVisible" presStyleLbl="bgAccFollowNode1" presStyleIdx="2" presStyleCnt="5">
        <dgm:presLayoutVars>
          <dgm:bulletEnabled val="1"/>
        </dgm:presLayoutVars>
      </dgm:prSet>
      <dgm:spPr/>
      <dgm:t>
        <a:bodyPr/>
        <a:lstStyle/>
        <a:p>
          <a:endParaRPr lang="nl-NL"/>
        </a:p>
      </dgm:t>
    </dgm:pt>
    <dgm:pt modelId="{321968E4-8E9C-45C8-A3D9-0FBAA4257758}" type="pres">
      <dgm:prSet presAssocID="{66A8E699-A65A-4BAD-BFFB-92C28736B77B}" presName="childTextHidden" presStyleLbl="bgAccFollowNode1" presStyleIdx="2" presStyleCnt="5"/>
      <dgm:spPr/>
      <dgm:t>
        <a:bodyPr/>
        <a:lstStyle/>
        <a:p>
          <a:endParaRPr lang="nl-NL"/>
        </a:p>
      </dgm:t>
    </dgm:pt>
    <dgm:pt modelId="{20357942-C404-4A84-9D60-79898B03F776}" type="pres">
      <dgm:prSet presAssocID="{66A8E699-A65A-4BAD-BFFB-92C28736B77B}" presName="parentText" presStyleLbl="node1" presStyleIdx="2" presStyleCnt="5">
        <dgm:presLayoutVars>
          <dgm:chMax val="1"/>
          <dgm:bulletEnabled val="1"/>
        </dgm:presLayoutVars>
      </dgm:prSet>
      <dgm:spPr/>
      <dgm:t>
        <a:bodyPr/>
        <a:lstStyle/>
        <a:p>
          <a:endParaRPr lang="nl-NL"/>
        </a:p>
      </dgm:t>
    </dgm:pt>
    <dgm:pt modelId="{9B53FA38-C8F5-4FBE-B5AB-F9C3EDAD7F50}" type="pres">
      <dgm:prSet presAssocID="{66A8E699-A65A-4BAD-BFFB-92C28736B77B}" presName="aSpace" presStyleCnt="0"/>
      <dgm:spPr/>
    </dgm:pt>
    <dgm:pt modelId="{B6A36551-8A2A-4F6B-85F0-AA69C6F3CD88}" type="pres">
      <dgm:prSet presAssocID="{E8E52A68-50B5-4987-BE1B-256684A3DB89}" presName="compNode" presStyleCnt="0"/>
      <dgm:spPr/>
    </dgm:pt>
    <dgm:pt modelId="{7EED430D-9D6F-4AF8-90D3-236B66C1AC5F}" type="pres">
      <dgm:prSet presAssocID="{E8E52A68-50B5-4987-BE1B-256684A3DB89}" presName="noGeometry" presStyleCnt="0"/>
      <dgm:spPr/>
    </dgm:pt>
    <dgm:pt modelId="{9D44D308-8921-4D4D-9901-5B7C7E4A839C}" type="pres">
      <dgm:prSet presAssocID="{E8E52A68-50B5-4987-BE1B-256684A3DB89}" presName="childTextVisible" presStyleLbl="bgAccFollowNode1" presStyleIdx="3" presStyleCnt="5">
        <dgm:presLayoutVars>
          <dgm:bulletEnabled val="1"/>
        </dgm:presLayoutVars>
      </dgm:prSet>
      <dgm:spPr/>
      <dgm:t>
        <a:bodyPr/>
        <a:lstStyle/>
        <a:p>
          <a:endParaRPr lang="nl-NL"/>
        </a:p>
      </dgm:t>
    </dgm:pt>
    <dgm:pt modelId="{2AAECD9B-0C70-4153-9529-3CD4486CB73A}" type="pres">
      <dgm:prSet presAssocID="{E8E52A68-50B5-4987-BE1B-256684A3DB89}" presName="childTextHidden" presStyleLbl="bgAccFollowNode1" presStyleIdx="3" presStyleCnt="5"/>
      <dgm:spPr/>
      <dgm:t>
        <a:bodyPr/>
        <a:lstStyle/>
        <a:p>
          <a:endParaRPr lang="nl-NL"/>
        </a:p>
      </dgm:t>
    </dgm:pt>
    <dgm:pt modelId="{DEE74D66-D33C-4B9C-8945-F796BEE98549}" type="pres">
      <dgm:prSet presAssocID="{E8E52A68-50B5-4987-BE1B-256684A3DB89}" presName="parentText" presStyleLbl="node1" presStyleIdx="3" presStyleCnt="5">
        <dgm:presLayoutVars>
          <dgm:chMax val="1"/>
          <dgm:bulletEnabled val="1"/>
        </dgm:presLayoutVars>
      </dgm:prSet>
      <dgm:spPr/>
      <dgm:t>
        <a:bodyPr/>
        <a:lstStyle/>
        <a:p>
          <a:endParaRPr lang="nl-NL"/>
        </a:p>
      </dgm:t>
    </dgm:pt>
    <dgm:pt modelId="{50F85997-21E9-4827-9E7C-A2D0C7CA6DB4}" type="pres">
      <dgm:prSet presAssocID="{E8E52A68-50B5-4987-BE1B-256684A3DB89}" presName="aSpace" presStyleCnt="0"/>
      <dgm:spPr/>
    </dgm:pt>
    <dgm:pt modelId="{564A34C0-3122-4188-8E5C-04A747421D91}" type="pres">
      <dgm:prSet presAssocID="{CA6E061F-3D8F-4B7E-BE6A-CA3D5A8004D6}" presName="compNode" presStyleCnt="0"/>
      <dgm:spPr/>
    </dgm:pt>
    <dgm:pt modelId="{12F6F69B-D97A-4939-9BDF-D17AC5E2E729}" type="pres">
      <dgm:prSet presAssocID="{CA6E061F-3D8F-4B7E-BE6A-CA3D5A8004D6}" presName="noGeometry" presStyleCnt="0"/>
      <dgm:spPr/>
    </dgm:pt>
    <dgm:pt modelId="{48A9E642-769D-4E46-8E96-5A5529AD33E3}" type="pres">
      <dgm:prSet presAssocID="{CA6E061F-3D8F-4B7E-BE6A-CA3D5A8004D6}" presName="childTextVisible" presStyleLbl="bgAccFollowNode1" presStyleIdx="4" presStyleCnt="5">
        <dgm:presLayoutVars>
          <dgm:bulletEnabled val="1"/>
        </dgm:presLayoutVars>
      </dgm:prSet>
      <dgm:spPr/>
      <dgm:t>
        <a:bodyPr/>
        <a:lstStyle/>
        <a:p>
          <a:endParaRPr lang="nl-NL"/>
        </a:p>
      </dgm:t>
    </dgm:pt>
    <dgm:pt modelId="{38D8EC05-F35D-42AA-B4C8-397A2E699D41}" type="pres">
      <dgm:prSet presAssocID="{CA6E061F-3D8F-4B7E-BE6A-CA3D5A8004D6}" presName="childTextHidden" presStyleLbl="bgAccFollowNode1" presStyleIdx="4" presStyleCnt="5"/>
      <dgm:spPr/>
      <dgm:t>
        <a:bodyPr/>
        <a:lstStyle/>
        <a:p>
          <a:endParaRPr lang="nl-NL"/>
        </a:p>
      </dgm:t>
    </dgm:pt>
    <dgm:pt modelId="{B7082548-1CF4-444B-833D-D29EB14C1432}" type="pres">
      <dgm:prSet presAssocID="{CA6E061F-3D8F-4B7E-BE6A-CA3D5A8004D6}" presName="parentText" presStyleLbl="node1" presStyleIdx="4" presStyleCnt="5">
        <dgm:presLayoutVars>
          <dgm:chMax val="1"/>
          <dgm:bulletEnabled val="1"/>
        </dgm:presLayoutVars>
      </dgm:prSet>
      <dgm:spPr/>
      <dgm:t>
        <a:bodyPr/>
        <a:lstStyle/>
        <a:p>
          <a:endParaRPr lang="nl-NL"/>
        </a:p>
      </dgm:t>
    </dgm:pt>
  </dgm:ptLst>
  <dgm:cxnLst>
    <dgm:cxn modelId="{5438C1DE-8669-47F5-9813-617BBD5E2F98}" type="presOf" srcId="{5E0FF3C4-43F2-4996-A55D-0E0B1A5E67F0}" destId="{38D8EC05-F35D-42AA-B4C8-397A2E699D41}" srcOrd="1" destOrd="0" presId="urn:microsoft.com/office/officeart/2005/8/layout/hProcess6"/>
    <dgm:cxn modelId="{BE49BA4D-0F72-4AB1-BEE7-EEB9BD41AEA9}" srcId="{E8E52A68-50B5-4987-BE1B-256684A3DB89}" destId="{44B08FD9-9B21-4AD1-BBA9-30B4E62AFA62}" srcOrd="0" destOrd="0" parTransId="{E1EF204A-9751-488B-88FA-D7390CBE6AD1}" sibTransId="{4FAD98FF-FF95-465B-AC82-7835DB36BEB0}"/>
    <dgm:cxn modelId="{09D63263-BBC9-4FFC-9BAF-19CDAA682B17}" type="presOf" srcId="{76B33D9A-B7F7-44AB-90CB-35F7275F1156}" destId="{61D9DFE0-5898-4CE9-B8D3-DEF2FE3BFC9F}" srcOrd="1" destOrd="0" presId="urn:microsoft.com/office/officeart/2005/8/layout/hProcess6"/>
    <dgm:cxn modelId="{A1829390-E481-4232-BC6B-AAB920C5B2A6}" srcId="{CA6E061F-3D8F-4B7E-BE6A-CA3D5A8004D6}" destId="{5E0FF3C4-43F2-4996-A55D-0E0B1A5E67F0}" srcOrd="0" destOrd="0" parTransId="{AD8A0F66-A8B8-4654-BCDE-709E0064E3D6}" sibTransId="{095D209D-5A0F-44C2-A5E5-4E17CA7014B7}"/>
    <dgm:cxn modelId="{AD86CCFB-4D3D-4C00-B37C-5DB34681A85B}" srcId="{E8B6031A-CE7C-470D-B2B5-FF9AE7B24778}" destId="{76B33D9A-B7F7-44AB-90CB-35F7275F1156}" srcOrd="0" destOrd="0" parTransId="{D7A44DEF-269D-4ED6-9F87-CB3E7630AC42}" sibTransId="{4C2777C0-49E4-4299-8373-DDA8E557337D}"/>
    <dgm:cxn modelId="{1EB32C1B-3F0B-403B-8273-BFD31E828DD9}" type="presOf" srcId="{44B08FD9-9B21-4AD1-BBA9-30B4E62AFA62}" destId="{9D44D308-8921-4D4D-9901-5B7C7E4A839C}" srcOrd="0" destOrd="0" presId="urn:microsoft.com/office/officeart/2005/8/layout/hProcess6"/>
    <dgm:cxn modelId="{BD7CA415-0AEE-44DB-B664-65A7B2CAB605}" type="presOf" srcId="{5E0FF3C4-43F2-4996-A55D-0E0B1A5E67F0}" destId="{48A9E642-769D-4E46-8E96-5A5529AD33E3}" srcOrd="0" destOrd="0" presId="urn:microsoft.com/office/officeart/2005/8/layout/hProcess6"/>
    <dgm:cxn modelId="{DFBCF9A7-C52F-4081-9B0B-8F4B32B2C9BF}" srcId="{6375E91C-1FB6-4889-85DB-169BCF73FA74}" destId="{94D93C88-4327-4D87-8C43-36B1CAF48666}" srcOrd="0" destOrd="0" parTransId="{15EED532-1E14-490A-83C3-488305BC9AF4}" sibTransId="{53086A0D-C593-4326-896B-A9BDA8854962}"/>
    <dgm:cxn modelId="{0C6853C8-032B-4D05-A714-AFEEFAB907D4}" type="presOf" srcId="{A08B30B7-2D46-49CF-8C8D-C83ECE98E807}" destId="{AE452D30-1D83-4F07-9646-72A3204B66DA}" srcOrd="0" destOrd="0" presId="urn:microsoft.com/office/officeart/2005/8/layout/hProcess6"/>
    <dgm:cxn modelId="{72A787ED-1029-41C8-8145-B1E26F86459D}" type="presOf" srcId="{94D93C88-4327-4D87-8C43-36B1CAF48666}" destId="{A03D105E-E942-4814-86EF-6F8466E86A5A}" srcOrd="0" destOrd="0" presId="urn:microsoft.com/office/officeart/2005/8/layout/hProcess6"/>
    <dgm:cxn modelId="{67FD0A66-25AE-40FF-B4AB-31030C0F1735}" srcId="{8BCBD008-1683-43CA-B492-9215BBC8DE04}" destId="{6375E91C-1FB6-4889-85DB-169BCF73FA74}" srcOrd="1" destOrd="0" parTransId="{E8FD2246-D028-46FA-BB61-BE0B33F047FF}" sibTransId="{2638152E-A11E-45F1-B32B-9D652A760E5F}"/>
    <dgm:cxn modelId="{FF09B9BB-CF47-452F-B386-6BA8ADCCFEB7}" srcId="{8BCBD008-1683-43CA-B492-9215BBC8DE04}" destId="{66A8E699-A65A-4BAD-BFFB-92C28736B77B}" srcOrd="2" destOrd="0" parTransId="{5ACDECE0-80DA-49F4-9455-0427F36045E9}" sibTransId="{DF9E5B5C-E4A8-46DF-9A99-36844912934A}"/>
    <dgm:cxn modelId="{1A4B6D8A-0488-42B5-AB16-B674A39F3DE3}" srcId="{8BCBD008-1683-43CA-B492-9215BBC8DE04}" destId="{E8E52A68-50B5-4987-BE1B-256684A3DB89}" srcOrd="3" destOrd="0" parTransId="{2BC36179-7B64-4CDB-A943-8913A5C02AE2}" sibTransId="{D0C68DD4-3BCE-4805-9494-9B78B439BF9B}"/>
    <dgm:cxn modelId="{727B3A89-EDBC-4541-8670-0C4945C49EED}" type="presOf" srcId="{A08B30B7-2D46-49CF-8C8D-C83ECE98E807}" destId="{321968E4-8E9C-45C8-A3D9-0FBAA4257758}" srcOrd="1" destOrd="0" presId="urn:microsoft.com/office/officeart/2005/8/layout/hProcess6"/>
    <dgm:cxn modelId="{D7BF19B5-FD36-4CF7-B109-AFEA0C8204D6}" type="presOf" srcId="{6375E91C-1FB6-4889-85DB-169BCF73FA74}" destId="{919519EA-FF4D-4ECD-AF3F-B78E59F47AA7}" srcOrd="0" destOrd="0" presId="urn:microsoft.com/office/officeart/2005/8/layout/hProcess6"/>
    <dgm:cxn modelId="{C0242ABB-7CDF-4676-8DD8-3E227B84461F}" type="presOf" srcId="{66A8E699-A65A-4BAD-BFFB-92C28736B77B}" destId="{20357942-C404-4A84-9D60-79898B03F776}" srcOrd="0" destOrd="0" presId="urn:microsoft.com/office/officeart/2005/8/layout/hProcess6"/>
    <dgm:cxn modelId="{6009F24D-743A-4501-87F8-2D2D538677D1}" type="presOf" srcId="{94D93C88-4327-4D87-8C43-36B1CAF48666}" destId="{C4A7FB2D-83D5-448F-B354-618CA68801CA}" srcOrd="1" destOrd="0" presId="urn:microsoft.com/office/officeart/2005/8/layout/hProcess6"/>
    <dgm:cxn modelId="{2CE066A2-832E-4796-8BCC-5A01CD0B736A}" type="presOf" srcId="{76B33D9A-B7F7-44AB-90CB-35F7275F1156}" destId="{848CD359-C740-481D-BD59-BD2560959613}" srcOrd="0" destOrd="0" presId="urn:microsoft.com/office/officeart/2005/8/layout/hProcess6"/>
    <dgm:cxn modelId="{49E2475F-79C7-4AAE-870C-435586328E82}" type="presOf" srcId="{44B08FD9-9B21-4AD1-BBA9-30B4E62AFA62}" destId="{2AAECD9B-0C70-4153-9529-3CD4486CB73A}" srcOrd="1" destOrd="0" presId="urn:microsoft.com/office/officeart/2005/8/layout/hProcess6"/>
    <dgm:cxn modelId="{9A67F288-9DFB-4A02-99DE-64A2299C5608}" type="presOf" srcId="{CA6E061F-3D8F-4B7E-BE6A-CA3D5A8004D6}" destId="{B7082548-1CF4-444B-833D-D29EB14C1432}" srcOrd="0" destOrd="0" presId="urn:microsoft.com/office/officeart/2005/8/layout/hProcess6"/>
    <dgm:cxn modelId="{54C253FE-EA9A-4C36-9099-AED06D412501}" srcId="{66A8E699-A65A-4BAD-BFFB-92C28736B77B}" destId="{A08B30B7-2D46-49CF-8C8D-C83ECE98E807}" srcOrd="0" destOrd="0" parTransId="{CFC44123-37FF-4E30-982B-4E81F31232CE}" sibTransId="{23DABBEF-C615-47AC-B829-FB44DC680111}"/>
    <dgm:cxn modelId="{9F184355-F277-4A0D-BA01-34FDCFDCED82}" srcId="{8BCBD008-1683-43CA-B492-9215BBC8DE04}" destId="{E8B6031A-CE7C-470D-B2B5-FF9AE7B24778}" srcOrd="0" destOrd="0" parTransId="{2169ACDB-9210-4901-9612-8275061BF351}" sibTransId="{C15F6928-564B-4D29-8193-49914AE02BF3}"/>
    <dgm:cxn modelId="{FC18CD37-FB46-4D87-8585-1C2E8FE71E69}" type="presOf" srcId="{E8B6031A-CE7C-470D-B2B5-FF9AE7B24778}" destId="{55E9028A-3A15-49E0-B417-64EB3E37C6C2}" srcOrd="0" destOrd="0" presId="urn:microsoft.com/office/officeart/2005/8/layout/hProcess6"/>
    <dgm:cxn modelId="{4A7F4F53-BE24-4BB9-A616-B7330C80526A}" type="presOf" srcId="{E8E52A68-50B5-4987-BE1B-256684A3DB89}" destId="{DEE74D66-D33C-4B9C-8945-F796BEE98549}" srcOrd="0" destOrd="0" presId="urn:microsoft.com/office/officeart/2005/8/layout/hProcess6"/>
    <dgm:cxn modelId="{5EA8F68C-954C-4DBD-AC6E-3DAAF88EB7E6}" srcId="{8BCBD008-1683-43CA-B492-9215BBC8DE04}" destId="{CA6E061F-3D8F-4B7E-BE6A-CA3D5A8004D6}" srcOrd="4" destOrd="0" parTransId="{2E45CE89-4887-44FD-875B-1BC9B6FF42BE}" sibTransId="{A05AEE87-DC31-4AF1-8187-441B7EB8D894}"/>
    <dgm:cxn modelId="{AABBF9A6-04C2-4C89-A3EC-660C3E8FA888}" type="presOf" srcId="{8BCBD008-1683-43CA-B492-9215BBC8DE04}" destId="{731BC381-D940-4C80-8EF6-46B706DEE355}" srcOrd="0" destOrd="0" presId="urn:microsoft.com/office/officeart/2005/8/layout/hProcess6"/>
    <dgm:cxn modelId="{347A15CA-E599-4EC2-92C7-87DFA7DC28A7}" type="presParOf" srcId="{731BC381-D940-4C80-8EF6-46B706DEE355}" destId="{2E30FC8D-3DAA-4FFE-9535-070FB167B0DD}" srcOrd="0" destOrd="0" presId="urn:microsoft.com/office/officeart/2005/8/layout/hProcess6"/>
    <dgm:cxn modelId="{923812C0-AB4C-49F1-BE39-3FD9D239312B}" type="presParOf" srcId="{2E30FC8D-3DAA-4FFE-9535-070FB167B0DD}" destId="{61E6983B-A487-490B-8DA5-41093ABC1EE8}" srcOrd="0" destOrd="0" presId="urn:microsoft.com/office/officeart/2005/8/layout/hProcess6"/>
    <dgm:cxn modelId="{C2B29C6E-833F-45F6-BF9C-8BE376282A72}" type="presParOf" srcId="{2E30FC8D-3DAA-4FFE-9535-070FB167B0DD}" destId="{848CD359-C740-481D-BD59-BD2560959613}" srcOrd="1" destOrd="0" presId="urn:microsoft.com/office/officeart/2005/8/layout/hProcess6"/>
    <dgm:cxn modelId="{0FAAFD4B-7E7A-49D3-BC82-25D7E495D8C4}" type="presParOf" srcId="{2E30FC8D-3DAA-4FFE-9535-070FB167B0DD}" destId="{61D9DFE0-5898-4CE9-B8D3-DEF2FE3BFC9F}" srcOrd="2" destOrd="0" presId="urn:microsoft.com/office/officeart/2005/8/layout/hProcess6"/>
    <dgm:cxn modelId="{9C0C1F27-F495-45E0-A99B-A633F91AE757}" type="presParOf" srcId="{2E30FC8D-3DAA-4FFE-9535-070FB167B0DD}" destId="{55E9028A-3A15-49E0-B417-64EB3E37C6C2}" srcOrd="3" destOrd="0" presId="urn:microsoft.com/office/officeart/2005/8/layout/hProcess6"/>
    <dgm:cxn modelId="{673207D1-7122-4E35-BCB7-D315DEDD5824}" type="presParOf" srcId="{731BC381-D940-4C80-8EF6-46B706DEE355}" destId="{E689F4AE-90E2-40FE-856F-99C249736392}" srcOrd="1" destOrd="0" presId="urn:microsoft.com/office/officeart/2005/8/layout/hProcess6"/>
    <dgm:cxn modelId="{18E3F0B8-3910-454C-8252-353E3855E48D}" type="presParOf" srcId="{731BC381-D940-4C80-8EF6-46B706DEE355}" destId="{1F75858B-0CC3-4663-A12E-0E8A4663835F}" srcOrd="2" destOrd="0" presId="urn:microsoft.com/office/officeart/2005/8/layout/hProcess6"/>
    <dgm:cxn modelId="{CA054AD3-C3A4-4B72-888C-31AEEE7E3CFE}" type="presParOf" srcId="{1F75858B-0CC3-4663-A12E-0E8A4663835F}" destId="{C9950B95-13A9-4DE4-AEB5-C4958E21BC45}" srcOrd="0" destOrd="0" presId="urn:microsoft.com/office/officeart/2005/8/layout/hProcess6"/>
    <dgm:cxn modelId="{161C75C3-6711-46A2-AD5D-9B4055CF4769}" type="presParOf" srcId="{1F75858B-0CC3-4663-A12E-0E8A4663835F}" destId="{A03D105E-E942-4814-86EF-6F8466E86A5A}" srcOrd="1" destOrd="0" presId="urn:microsoft.com/office/officeart/2005/8/layout/hProcess6"/>
    <dgm:cxn modelId="{578C2010-919A-4169-A986-E1C374047BEB}" type="presParOf" srcId="{1F75858B-0CC3-4663-A12E-0E8A4663835F}" destId="{C4A7FB2D-83D5-448F-B354-618CA68801CA}" srcOrd="2" destOrd="0" presId="urn:microsoft.com/office/officeart/2005/8/layout/hProcess6"/>
    <dgm:cxn modelId="{4DAC0052-2E4B-42BC-B934-3009610A7002}" type="presParOf" srcId="{1F75858B-0CC3-4663-A12E-0E8A4663835F}" destId="{919519EA-FF4D-4ECD-AF3F-B78E59F47AA7}" srcOrd="3" destOrd="0" presId="urn:microsoft.com/office/officeart/2005/8/layout/hProcess6"/>
    <dgm:cxn modelId="{89BDCF6D-9CE5-4D03-8C24-D84C37F680A2}" type="presParOf" srcId="{731BC381-D940-4C80-8EF6-46B706DEE355}" destId="{8C75F4C5-DA0E-4CD4-ACCF-3671FD4E7760}" srcOrd="3" destOrd="0" presId="urn:microsoft.com/office/officeart/2005/8/layout/hProcess6"/>
    <dgm:cxn modelId="{0D7404CC-2F14-4450-AD09-83832DCDA544}" type="presParOf" srcId="{731BC381-D940-4C80-8EF6-46B706DEE355}" destId="{296F0538-CCB6-42DD-8467-CC0890C104C2}" srcOrd="4" destOrd="0" presId="urn:microsoft.com/office/officeart/2005/8/layout/hProcess6"/>
    <dgm:cxn modelId="{E57BF190-BD63-430B-A400-0C7D20383BD4}" type="presParOf" srcId="{296F0538-CCB6-42DD-8467-CC0890C104C2}" destId="{7276EAF5-7EBF-4EDC-993B-4F45CEF635E4}" srcOrd="0" destOrd="0" presId="urn:microsoft.com/office/officeart/2005/8/layout/hProcess6"/>
    <dgm:cxn modelId="{01CA0C49-0DE5-413F-BAB6-0D7033CED31F}" type="presParOf" srcId="{296F0538-CCB6-42DD-8467-CC0890C104C2}" destId="{AE452D30-1D83-4F07-9646-72A3204B66DA}" srcOrd="1" destOrd="0" presId="urn:microsoft.com/office/officeart/2005/8/layout/hProcess6"/>
    <dgm:cxn modelId="{90B2F0AB-99FB-49C3-90F8-C2E4CC36E7F7}" type="presParOf" srcId="{296F0538-CCB6-42DD-8467-CC0890C104C2}" destId="{321968E4-8E9C-45C8-A3D9-0FBAA4257758}" srcOrd="2" destOrd="0" presId="urn:microsoft.com/office/officeart/2005/8/layout/hProcess6"/>
    <dgm:cxn modelId="{C4F612B7-750D-4D1E-BCF4-6475B194CA7B}" type="presParOf" srcId="{296F0538-CCB6-42DD-8467-CC0890C104C2}" destId="{20357942-C404-4A84-9D60-79898B03F776}" srcOrd="3" destOrd="0" presId="urn:microsoft.com/office/officeart/2005/8/layout/hProcess6"/>
    <dgm:cxn modelId="{78863012-E26F-42D6-B484-3C05757BD6E7}" type="presParOf" srcId="{731BC381-D940-4C80-8EF6-46B706DEE355}" destId="{9B53FA38-C8F5-4FBE-B5AB-F9C3EDAD7F50}" srcOrd="5" destOrd="0" presId="urn:microsoft.com/office/officeart/2005/8/layout/hProcess6"/>
    <dgm:cxn modelId="{7D591231-601A-4246-95DC-FAE137DA355F}" type="presParOf" srcId="{731BC381-D940-4C80-8EF6-46B706DEE355}" destId="{B6A36551-8A2A-4F6B-85F0-AA69C6F3CD88}" srcOrd="6" destOrd="0" presId="urn:microsoft.com/office/officeart/2005/8/layout/hProcess6"/>
    <dgm:cxn modelId="{910690A3-D795-4E98-838A-E105E893615C}" type="presParOf" srcId="{B6A36551-8A2A-4F6B-85F0-AA69C6F3CD88}" destId="{7EED430D-9D6F-4AF8-90D3-236B66C1AC5F}" srcOrd="0" destOrd="0" presId="urn:microsoft.com/office/officeart/2005/8/layout/hProcess6"/>
    <dgm:cxn modelId="{F3F60C94-FF83-4340-8D87-1A9B20597509}" type="presParOf" srcId="{B6A36551-8A2A-4F6B-85F0-AA69C6F3CD88}" destId="{9D44D308-8921-4D4D-9901-5B7C7E4A839C}" srcOrd="1" destOrd="0" presId="urn:microsoft.com/office/officeart/2005/8/layout/hProcess6"/>
    <dgm:cxn modelId="{7E4DAF56-AD67-4DA4-9B3B-DC782C853FD2}" type="presParOf" srcId="{B6A36551-8A2A-4F6B-85F0-AA69C6F3CD88}" destId="{2AAECD9B-0C70-4153-9529-3CD4486CB73A}" srcOrd="2" destOrd="0" presId="urn:microsoft.com/office/officeart/2005/8/layout/hProcess6"/>
    <dgm:cxn modelId="{16725FB4-169E-444F-A87F-F26183508DB4}" type="presParOf" srcId="{B6A36551-8A2A-4F6B-85F0-AA69C6F3CD88}" destId="{DEE74D66-D33C-4B9C-8945-F796BEE98549}" srcOrd="3" destOrd="0" presId="urn:microsoft.com/office/officeart/2005/8/layout/hProcess6"/>
    <dgm:cxn modelId="{4D8D2397-CD5C-44D0-B2FD-027D5FC4F597}" type="presParOf" srcId="{731BC381-D940-4C80-8EF6-46B706DEE355}" destId="{50F85997-21E9-4827-9E7C-A2D0C7CA6DB4}" srcOrd="7" destOrd="0" presId="urn:microsoft.com/office/officeart/2005/8/layout/hProcess6"/>
    <dgm:cxn modelId="{6EC15A67-48FD-4857-98BD-8E527BADB631}" type="presParOf" srcId="{731BC381-D940-4C80-8EF6-46B706DEE355}" destId="{564A34C0-3122-4188-8E5C-04A747421D91}" srcOrd="8" destOrd="0" presId="urn:microsoft.com/office/officeart/2005/8/layout/hProcess6"/>
    <dgm:cxn modelId="{522332C7-B9C8-41DE-9CCF-1B51DD2438F2}" type="presParOf" srcId="{564A34C0-3122-4188-8E5C-04A747421D91}" destId="{12F6F69B-D97A-4939-9BDF-D17AC5E2E729}" srcOrd="0" destOrd="0" presId="urn:microsoft.com/office/officeart/2005/8/layout/hProcess6"/>
    <dgm:cxn modelId="{DA307EF3-0A90-40EF-9B6D-A14A0BD9DE10}" type="presParOf" srcId="{564A34C0-3122-4188-8E5C-04A747421D91}" destId="{48A9E642-769D-4E46-8E96-5A5529AD33E3}" srcOrd="1" destOrd="0" presId="urn:microsoft.com/office/officeart/2005/8/layout/hProcess6"/>
    <dgm:cxn modelId="{FE70E131-3D47-40EE-B0E4-C35AB7AAAEBC}" type="presParOf" srcId="{564A34C0-3122-4188-8E5C-04A747421D91}" destId="{38D8EC05-F35D-42AA-B4C8-397A2E699D41}" srcOrd="2" destOrd="0" presId="urn:microsoft.com/office/officeart/2005/8/layout/hProcess6"/>
    <dgm:cxn modelId="{6DF278E5-EAEE-49D8-B12F-94598ED0BF38}" type="presParOf" srcId="{564A34C0-3122-4188-8E5C-04A747421D91}" destId="{B7082548-1CF4-444B-833D-D29EB14C1432}" srcOrd="3" destOrd="0" presId="urn:microsoft.com/office/officeart/2005/8/layout/hProcess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rgbClr val="C00000"/>
        </a:solidFill>
      </dgm:spPr>
      <dgm:t>
        <a:bodyPr/>
        <a:lstStyle/>
        <a:p>
          <a:r>
            <a:rPr lang="nl-NL" sz="800" b="1"/>
            <a:t>Basis op orde</a:t>
          </a:r>
        </a:p>
      </dgm:t>
    </dgm:pt>
    <dgm:pt modelId="{90CEC079-2C69-41B6-A11B-29F32A953409}" type="parTrans" cxnId="{136CBB68-B79D-4521-AE05-448CD2A0E6BA}">
      <dgm:prSet/>
      <dgm:spPr/>
      <dgm:t>
        <a:bodyPr/>
        <a:lstStyle/>
        <a:p>
          <a:endParaRPr lang="nl-NL" sz="800"/>
        </a:p>
      </dgm:t>
    </dgm:pt>
    <dgm:pt modelId="{4C5F13E2-FD46-474E-9734-841DF2E80CD5}" type="sibTrans" cxnId="{136CBB68-B79D-4521-AE05-448CD2A0E6BA}">
      <dgm:prSet/>
      <dgm:spPr/>
      <dgm:t>
        <a:bodyPr/>
        <a:lstStyle/>
        <a:p>
          <a:endParaRPr lang="nl-NL" sz="800"/>
        </a:p>
      </dgm:t>
    </dgm:pt>
    <dgm:pt modelId="{FBBC417D-E75A-4A89-90B5-F76D2564EA98}">
      <dgm:prSet phldrT="[Tekst]" custT="1"/>
      <dgm:spPr/>
      <dgm:t>
        <a:bodyPr/>
        <a:lstStyle/>
        <a:p>
          <a:r>
            <a:rPr lang="nl-NL" sz="800"/>
            <a:t>Venieuw-ing</a:t>
          </a:r>
        </a:p>
      </dgm:t>
    </dgm:pt>
    <dgm:pt modelId="{017A22D2-AB94-4F34-AE80-AE4198788B30}" type="parTrans" cxnId="{53B4E618-B6DE-4430-9FAD-3105A6B819D5}">
      <dgm:prSet/>
      <dgm:spPr/>
      <dgm:t>
        <a:bodyPr/>
        <a:lstStyle/>
        <a:p>
          <a:endParaRPr lang="nl-NL" sz="800"/>
        </a:p>
      </dgm:t>
    </dgm:pt>
    <dgm:pt modelId="{DE8A5A4F-72F1-4A7A-AF3F-37A2C95F5B5B}" type="sibTrans" cxnId="{53B4E618-B6DE-4430-9FAD-3105A6B819D5}">
      <dgm:prSet/>
      <dgm:spPr/>
      <dgm:t>
        <a:bodyPr/>
        <a:lstStyle/>
        <a:p>
          <a:endParaRPr lang="nl-NL" sz="800"/>
        </a:p>
      </dgm:t>
    </dgm:pt>
    <dgm:pt modelId="{33643B5F-5FC7-4C05-9884-05240B030279}">
      <dgm:prSet phldrT="[Tekst]" custT="1"/>
      <dgm:spPr/>
      <dgm:t>
        <a:bodyPr/>
        <a:lstStyle/>
        <a:p>
          <a:r>
            <a:rPr lang="nl-NL" sz="800"/>
            <a:t>Data</a:t>
          </a:r>
        </a:p>
      </dgm:t>
    </dgm:pt>
    <dgm:pt modelId="{685934F8-BE15-4034-8B7A-6B1669A529F6}" type="parTrans" cxnId="{748CEF89-6D06-4022-B0A5-3C5BC5FAB125}">
      <dgm:prSet/>
      <dgm:spPr/>
      <dgm:t>
        <a:bodyPr/>
        <a:lstStyle/>
        <a:p>
          <a:endParaRPr lang="nl-NL" sz="800"/>
        </a:p>
      </dgm:t>
    </dgm:pt>
    <dgm:pt modelId="{EAB910D8-57FA-42B6-966E-85994268F6BF}" type="sibTrans" cxnId="{748CEF89-6D06-4022-B0A5-3C5BC5FAB125}">
      <dgm:prSet/>
      <dgm:spPr/>
      <dgm:t>
        <a:bodyPr/>
        <a:lstStyle/>
        <a:p>
          <a:endParaRPr lang="nl-NL" sz="8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2592" custLinFactNeighborY="258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4C25754-AF2E-445A-B1C4-208C361E302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647DD7A5-0012-436B-BAB9-BDE52DC25B90}">
      <dgm:prSet phldrT="[Tekst]" custT="1"/>
      <dgm:spPr>
        <a:solidFill>
          <a:srgbClr val="C00000"/>
        </a:solidFill>
      </dgm:spPr>
      <dgm:t>
        <a:bodyPr/>
        <a:lstStyle/>
        <a:p>
          <a:r>
            <a:rPr lang="nl-NL" sz="1000">
              <a:solidFill>
                <a:schemeClr val="bg1"/>
              </a:solidFill>
            </a:rPr>
            <a:t>Keten-samenwerking</a:t>
          </a:r>
        </a:p>
      </dgm:t>
    </dgm:pt>
    <dgm:pt modelId="{3AB16B59-D0CB-483E-BCBC-D5B2E737CB7D}" type="parTrans" cxnId="{3F8CF7C8-6210-42A5-8DA3-FA0302C8434A}">
      <dgm:prSet/>
      <dgm:spPr/>
      <dgm:t>
        <a:bodyPr/>
        <a:lstStyle/>
        <a:p>
          <a:endParaRPr lang="nl-NL" sz="1000"/>
        </a:p>
      </dgm:t>
    </dgm:pt>
    <dgm:pt modelId="{706A9391-DCC8-4EEB-A18D-BE55B315846C}" type="sibTrans" cxnId="{3F8CF7C8-6210-42A5-8DA3-FA0302C8434A}">
      <dgm:prSet/>
      <dgm:spPr/>
      <dgm:t>
        <a:bodyPr/>
        <a:lstStyle/>
        <a:p>
          <a:endParaRPr lang="nl-NL" sz="1000"/>
        </a:p>
      </dgm:t>
    </dgm:pt>
    <dgm:pt modelId="{6D8F2393-DBD3-466D-BB9D-AE10062D1E45}">
      <dgm:prSet phldrT="[Tekst]" custT="1"/>
      <dgm:spPr>
        <a:solidFill>
          <a:schemeClr val="accent1">
            <a:lumMod val="90000"/>
            <a:alpha val="90000"/>
          </a:schemeClr>
        </a:solidFill>
      </dgm:spPr>
      <dgm:t>
        <a:bodyPr/>
        <a:lstStyle/>
        <a:p>
          <a:pPr>
            <a:buFontTx/>
            <a:buNone/>
          </a:pPr>
          <a:r>
            <a:rPr lang="nl-NL" sz="900">
              <a:solidFill>
                <a:schemeClr val="tx1"/>
              </a:solidFill>
            </a:rPr>
            <a:t>Inrichten keten leverancier-tot-klantgroep</a:t>
          </a:r>
        </a:p>
      </dgm:t>
    </dgm:pt>
    <dgm:pt modelId="{583416F9-FBC6-4C82-8614-951CEE12CD70}" type="parTrans" cxnId="{D65ABC08-8E9F-48FB-9C91-F5256B3DDC67}">
      <dgm:prSet/>
      <dgm:spPr/>
      <dgm:t>
        <a:bodyPr/>
        <a:lstStyle/>
        <a:p>
          <a:endParaRPr lang="nl-NL" sz="1000"/>
        </a:p>
      </dgm:t>
    </dgm:pt>
    <dgm:pt modelId="{03DE5228-1E63-4C54-9AE4-3B883B2F1DBA}" type="sibTrans" cxnId="{D65ABC08-8E9F-48FB-9C91-F5256B3DDC67}">
      <dgm:prSet/>
      <dgm:spPr/>
      <dgm:t>
        <a:bodyPr/>
        <a:lstStyle/>
        <a:p>
          <a:endParaRPr lang="nl-NL" sz="1000"/>
        </a:p>
      </dgm:t>
    </dgm:pt>
    <dgm:pt modelId="{545954EC-4953-467F-8E27-933BAB5A8E05}">
      <dgm:prSet phldrT="[Tekst]" custT="1"/>
      <dgm:spPr/>
      <dgm:t>
        <a:bodyPr/>
        <a:lstStyle/>
        <a:p>
          <a:pPr>
            <a:buFont typeface="+mj-lt"/>
            <a:buAutoNum type="alphaLcParenR" startAt="3"/>
          </a:pPr>
          <a:r>
            <a:rPr lang="nl-NL" sz="900">
              <a:solidFill>
                <a:schemeClr val="tx1"/>
              </a:solidFill>
            </a:rPr>
            <a:t>Ketenmonitoring uitbreiden naar externe partners</a:t>
          </a:r>
        </a:p>
      </dgm:t>
    </dgm:pt>
    <dgm:pt modelId="{E031E22B-55B8-4FED-A7B2-47054E3D78C2}" type="parTrans" cxnId="{80260B3B-B79C-46B4-97AA-A804C2A3920E}">
      <dgm:prSet/>
      <dgm:spPr/>
      <dgm:t>
        <a:bodyPr/>
        <a:lstStyle/>
        <a:p>
          <a:endParaRPr lang="nl-NL" sz="1000"/>
        </a:p>
      </dgm:t>
    </dgm:pt>
    <dgm:pt modelId="{3195B29B-0B9A-47B3-B2F4-4FDC8876F8E7}" type="sibTrans" cxnId="{80260B3B-B79C-46B4-97AA-A804C2A3920E}">
      <dgm:prSet/>
      <dgm:spPr/>
      <dgm:t>
        <a:bodyPr/>
        <a:lstStyle/>
        <a:p>
          <a:endParaRPr lang="nl-NL" sz="1000"/>
        </a:p>
      </dgm:t>
    </dgm:pt>
    <dgm:pt modelId="{22C9BA16-C912-4AB8-B16E-FF797935FE95}">
      <dgm:prSet phldrT="[Tekst]" custT="1"/>
      <dgm:spPr>
        <a:solidFill>
          <a:srgbClr val="C00000"/>
        </a:solidFill>
        <a:ln>
          <a:solidFill>
            <a:schemeClr val="bg1"/>
          </a:solidFill>
        </a:ln>
      </dgm:spPr>
      <dgm:t>
        <a:bodyPr/>
        <a:lstStyle/>
        <a:p>
          <a:r>
            <a:rPr lang="nl-NL" sz="1000">
              <a:solidFill>
                <a:schemeClr val="bg1"/>
              </a:solidFill>
            </a:rPr>
            <a:t>Automatisering</a:t>
          </a:r>
        </a:p>
      </dgm:t>
    </dgm:pt>
    <dgm:pt modelId="{93B98DF1-7871-4E1C-BCA9-B7D1E46536EC}" type="parTrans" cxnId="{C244C082-4F01-4C68-ACB6-0E8FA3198B3E}">
      <dgm:prSet/>
      <dgm:spPr/>
      <dgm:t>
        <a:bodyPr/>
        <a:lstStyle/>
        <a:p>
          <a:endParaRPr lang="nl-NL" sz="1000"/>
        </a:p>
      </dgm:t>
    </dgm:pt>
    <dgm:pt modelId="{92090AD9-6C79-48EC-9401-F0B181673841}" type="sibTrans" cxnId="{C244C082-4F01-4C68-ACB6-0E8FA3198B3E}">
      <dgm:prSet/>
      <dgm:spPr/>
      <dgm:t>
        <a:bodyPr/>
        <a:lstStyle/>
        <a:p>
          <a:endParaRPr lang="nl-NL" sz="1000"/>
        </a:p>
      </dgm:t>
    </dgm:pt>
    <dgm:pt modelId="{17FA8828-52A2-4AF5-B391-AB85135831D1}">
      <dgm:prSet phldrT="[Tekst]" custT="1"/>
      <dgm:spPr>
        <a:solidFill>
          <a:schemeClr val="accent1">
            <a:lumMod val="90000"/>
            <a:alpha val="90000"/>
          </a:schemeClr>
        </a:solidFill>
      </dgm:spPr>
      <dgm:t>
        <a:bodyPr/>
        <a:lstStyle/>
        <a:p>
          <a:pPr>
            <a:buClrTx/>
            <a:buSzTx/>
            <a:buFont typeface="+mj-lt"/>
            <a:buAutoNum type="alphaLcParenR"/>
          </a:pPr>
          <a:r>
            <a:rPr lang="nl-NL" sz="900"/>
            <a:t>Piketdeclaraties automatiseren</a:t>
          </a:r>
        </a:p>
      </dgm:t>
    </dgm:pt>
    <dgm:pt modelId="{7C76C83D-CE5B-4D7C-AD83-B4E39CEEF00A}" type="parTrans" cxnId="{ED905CA8-78C4-4B26-B4F3-FBE3111ED1C6}">
      <dgm:prSet/>
      <dgm:spPr/>
      <dgm:t>
        <a:bodyPr/>
        <a:lstStyle/>
        <a:p>
          <a:endParaRPr lang="nl-NL" sz="1000"/>
        </a:p>
      </dgm:t>
    </dgm:pt>
    <dgm:pt modelId="{5831FBD0-5DF6-4737-9D40-31BD670C5784}" type="sibTrans" cxnId="{ED905CA8-78C4-4B26-B4F3-FBE3111ED1C6}">
      <dgm:prSet/>
      <dgm:spPr/>
      <dgm:t>
        <a:bodyPr/>
        <a:lstStyle/>
        <a:p>
          <a:endParaRPr lang="nl-NL" sz="1000"/>
        </a:p>
      </dgm:t>
    </dgm:pt>
    <dgm:pt modelId="{1C057D00-7046-4C92-8845-E659397CD6FE}">
      <dgm:prSet phldrT="[Tekst]" custT="1"/>
      <dgm:spPr/>
      <dgm:t>
        <a:bodyPr/>
        <a:lstStyle/>
        <a:p>
          <a:pPr>
            <a:spcAft>
              <a:spcPts val="400"/>
            </a:spcAft>
            <a:buFont typeface="+mj-lt"/>
            <a:buAutoNum type="alphaLcParenR" startAt="2"/>
          </a:pPr>
          <a:r>
            <a:rPr lang="nl-NL" sz="900"/>
            <a:t>Automatisering </a:t>
          </a:r>
          <a:r>
            <a:rPr lang="nl-NL" sz="900" err="1"/>
            <a:t>Mediation</a:t>
          </a:r>
          <a:r>
            <a:rPr lang="nl-NL" sz="900"/>
            <a:t> proces</a:t>
          </a:r>
        </a:p>
        <a:p>
          <a:pPr>
            <a:spcAft>
              <a:spcPts val="400"/>
            </a:spcAft>
          </a:pPr>
          <a:r>
            <a:rPr lang="nl-NL" sz="900"/>
            <a:t>Automatisering beroep- &amp; bezwaar processen</a:t>
          </a:r>
        </a:p>
        <a:p>
          <a:pPr>
            <a:spcAft>
              <a:spcPts val="400"/>
            </a:spcAft>
          </a:pPr>
          <a:r>
            <a:rPr lang="nl-NL" sz="900"/>
            <a:t>Proces asielaanvragen automatiseren</a:t>
          </a:r>
        </a:p>
      </dgm:t>
    </dgm:pt>
    <dgm:pt modelId="{5CCF2DFA-AA14-4223-93C4-29A2BEE342FE}" type="parTrans" cxnId="{BC9DE52F-0BB5-4ACB-9274-779AEBE21803}">
      <dgm:prSet/>
      <dgm:spPr/>
      <dgm:t>
        <a:bodyPr/>
        <a:lstStyle/>
        <a:p>
          <a:endParaRPr lang="nl-NL" sz="1000"/>
        </a:p>
      </dgm:t>
    </dgm:pt>
    <dgm:pt modelId="{9F92A93D-431C-4D58-AC15-E971BD7417E8}" type="sibTrans" cxnId="{BC9DE52F-0BB5-4ACB-9274-779AEBE21803}">
      <dgm:prSet/>
      <dgm:spPr/>
      <dgm:t>
        <a:bodyPr/>
        <a:lstStyle/>
        <a:p>
          <a:endParaRPr lang="nl-NL" sz="1000"/>
        </a:p>
      </dgm:t>
    </dgm:pt>
    <dgm:pt modelId="{1D0431D3-64B3-4A2A-BC98-318609876B89}">
      <dgm:prSet phldrT="[Tekst]" custT="1"/>
      <dgm:spPr>
        <a:solidFill>
          <a:srgbClr val="C00000"/>
        </a:solidFill>
        <a:ln>
          <a:solidFill>
            <a:schemeClr val="bg1"/>
          </a:solidFill>
        </a:ln>
      </dgm:spPr>
      <dgm:t>
        <a:bodyPr/>
        <a:lstStyle/>
        <a:p>
          <a:r>
            <a:rPr lang="nl-NL" sz="1000">
              <a:solidFill>
                <a:schemeClr val="bg1"/>
              </a:solidFill>
            </a:rPr>
            <a:t>Zelfhulp</a:t>
          </a:r>
        </a:p>
      </dgm:t>
    </dgm:pt>
    <dgm:pt modelId="{8F056A3C-46EE-4105-96AC-805B07284C64}" type="parTrans" cxnId="{CA0D4426-5DC5-4E15-8CD4-69B9B9213E44}">
      <dgm:prSet/>
      <dgm:spPr/>
      <dgm:t>
        <a:bodyPr/>
        <a:lstStyle/>
        <a:p>
          <a:endParaRPr lang="nl-NL" sz="1000"/>
        </a:p>
      </dgm:t>
    </dgm:pt>
    <dgm:pt modelId="{8B27C768-6F47-4415-9EAC-93F37110362D}" type="sibTrans" cxnId="{CA0D4426-5DC5-4E15-8CD4-69B9B9213E44}">
      <dgm:prSet/>
      <dgm:spPr/>
      <dgm:t>
        <a:bodyPr/>
        <a:lstStyle/>
        <a:p>
          <a:endParaRPr lang="nl-NL" sz="1000"/>
        </a:p>
      </dgm:t>
    </dgm:pt>
    <dgm:pt modelId="{C0C666D5-C6AE-48A4-8BEB-1E0B4423CC7F}">
      <dgm:prSet phldrT="[Tekst]" custT="1"/>
      <dgm:spPr>
        <a:solidFill>
          <a:schemeClr val="accent1">
            <a:lumMod val="90000"/>
            <a:alpha val="90000"/>
          </a:schemeClr>
        </a:solidFill>
      </dgm:spPr>
      <dgm:t>
        <a:bodyPr/>
        <a:lstStyle/>
        <a:p>
          <a:pPr>
            <a:buFont typeface="Arial" panose="020B0604020202020204" pitchFamily="34" charset="0"/>
            <a:buNone/>
          </a:pPr>
          <a:r>
            <a:rPr lang="nl-NL" sz="900"/>
            <a:t>Opties voor zelfhulp binnen portalen uitzoeken</a:t>
          </a:r>
        </a:p>
      </dgm:t>
    </dgm:pt>
    <dgm:pt modelId="{7BCAD824-9F6C-4E51-8307-99177976A87F}" type="parTrans" cxnId="{3BB2DC6F-AEAE-401D-A71C-27E6D32EC4FB}">
      <dgm:prSet/>
      <dgm:spPr/>
      <dgm:t>
        <a:bodyPr/>
        <a:lstStyle/>
        <a:p>
          <a:endParaRPr lang="nl-NL" sz="1000"/>
        </a:p>
      </dgm:t>
    </dgm:pt>
    <dgm:pt modelId="{DEFB9FE7-85F7-46CA-BCD3-991BFEB6948F}" type="sibTrans" cxnId="{3BB2DC6F-AEAE-401D-A71C-27E6D32EC4FB}">
      <dgm:prSet/>
      <dgm:spPr/>
      <dgm:t>
        <a:bodyPr/>
        <a:lstStyle/>
        <a:p>
          <a:endParaRPr lang="nl-NL" sz="1000"/>
        </a:p>
      </dgm:t>
    </dgm:pt>
    <dgm:pt modelId="{1DD1AC1D-B569-457A-ABD8-ECBDB05C5B6B}">
      <dgm:prSet phldrT="[Tekst]" custT="1"/>
      <dgm:spPr/>
      <dgm:t>
        <a:bodyPr/>
        <a:lstStyle/>
        <a:p>
          <a:pPr>
            <a:buClrTx/>
            <a:buSzTx/>
            <a:buFont typeface="Arial" panose="020B0604020202020204" pitchFamily="34" charset="0"/>
            <a:buChar char="•"/>
          </a:pPr>
          <a:r>
            <a:rPr lang="nl-NL" sz="900"/>
            <a:t>Mogelijkheden </a:t>
          </a:r>
          <a:r>
            <a:rPr lang="nl-NL" sz="900" err="1"/>
            <a:t>chatbot</a:t>
          </a:r>
          <a:r>
            <a:rPr lang="nl-NL" sz="900"/>
            <a:t> o.i.d. onderzoeken</a:t>
          </a:r>
          <a:endParaRPr lang="nl-NL" sz="900">
            <a:solidFill>
              <a:srgbClr val="C00000"/>
            </a:solidFill>
          </a:endParaRPr>
        </a:p>
      </dgm:t>
    </dgm:pt>
    <dgm:pt modelId="{E1011E1B-B118-4875-B78A-2BFFE230438F}" type="parTrans" cxnId="{03C42A38-BDB9-4D6B-A478-6FFCEEADCCBC}">
      <dgm:prSet/>
      <dgm:spPr/>
      <dgm:t>
        <a:bodyPr/>
        <a:lstStyle/>
        <a:p>
          <a:endParaRPr lang="nl-NL" sz="1000"/>
        </a:p>
      </dgm:t>
    </dgm:pt>
    <dgm:pt modelId="{B22F1A8F-FD9D-4176-86A1-F295A23BFA9F}" type="sibTrans" cxnId="{03C42A38-BDB9-4D6B-A478-6FFCEEADCCBC}">
      <dgm:prSet/>
      <dgm:spPr/>
      <dgm:t>
        <a:bodyPr/>
        <a:lstStyle/>
        <a:p>
          <a:endParaRPr lang="nl-NL" sz="1000"/>
        </a:p>
      </dgm:t>
    </dgm:pt>
    <dgm:pt modelId="{0EEE7DE5-2B00-458B-BCAB-CB504BAD12E7}">
      <dgm:prSet custT="1"/>
      <dgm:spPr/>
      <dgm:t>
        <a:bodyPr/>
        <a:lstStyle/>
        <a:p>
          <a:r>
            <a:rPr lang="nl-NL" sz="900"/>
            <a:t>Randvoorwaarden scheppen voor ketensamenwerking door hanteren van open standaarden</a:t>
          </a:r>
        </a:p>
      </dgm:t>
    </dgm:pt>
    <dgm:pt modelId="{BE541403-E310-4737-9C4F-EFF537A3BC21}" type="parTrans" cxnId="{41A7473E-0FAD-4341-A72C-25CA87F1ADE8}">
      <dgm:prSet/>
      <dgm:spPr/>
      <dgm:t>
        <a:bodyPr/>
        <a:lstStyle/>
        <a:p>
          <a:endParaRPr lang="nl-NL" sz="1000"/>
        </a:p>
      </dgm:t>
    </dgm:pt>
    <dgm:pt modelId="{9F4A5B04-0051-4F5D-9849-79FF15B78EF0}" type="sibTrans" cxnId="{41A7473E-0FAD-4341-A72C-25CA87F1ADE8}">
      <dgm:prSet/>
      <dgm:spPr/>
      <dgm:t>
        <a:bodyPr/>
        <a:lstStyle/>
        <a:p>
          <a:endParaRPr lang="nl-NL" sz="1000"/>
        </a:p>
      </dgm:t>
    </dgm:pt>
    <dgm:pt modelId="{1F00858C-756E-438F-ACFC-655C02058CEA}">
      <dgm:prSet custT="1"/>
      <dgm:spPr/>
      <dgm:t>
        <a:bodyPr/>
        <a:lstStyle/>
        <a:p>
          <a:r>
            <a:rPr lang="nl-NL" sz="900"/>
            <a:t>(Inning Eigen Bijdrage)</a:t>
          </a:r>
        </a:p>
      </dgm:t>
    </dgm:pt>
    <dgm:pt modelId="{3C5879BC-6281-4669-8BEF-2E0C6AD6F405}" type="parTrans" cxnId="{C355C560-CE03-445B-A62A-70AC2F8C5F66}">
      <dgm:prSet/>
      <dgm:spPr/>
      <dgm:t>
        <a:bodyPr/>
        <a:lstStyle/>
        <a:p>
          <a:endParaRPr lang="nl-NL" sz="1000"/>
        </a:p>
      </dgm:t>
    </dgm:pt>
    <dgm:pt modelId="{E87351C3-C3F4-4BF9-BC9D-FD82FB04DFC6}" type="sibTrans" cxnId="{C355C560-CE03-445B-A62A-70AC2F8C5F66}">
      <dgm:prSet/>
      <dgm:spPr/>
      <dgm:t>
        <a:bodyPr/>
        <a:lstStyle/>
        <a:p>
          <a:endParaRPr lang="nl-NL" sz="1000"/>
        </a:p>
      </dgm:t>
    </dgm:pt>
    <dgm:pt modelId="{2B87F55F-3DDA-4DB8-85DC-69C630658C4A}">
      <dgm:prSet custT="1"/>
      <dgm:spPr/>
      <dgm:t>
        <a:bodyPr/>
        <a:lstStyle/>
        <a:p>
          <a:endParaRPr lang="nl-NL" sz="900"/>
        </a:p>
      </dgm:t>
    </dgm:pt>
    <dgm:pt modelId="{E458CF27-D025-4F7B-B018-63E3837B169F}" type="parTrans" cxnId="{2E6CD061-5211-49EC-9292-53AC3A9AD1E4}">
      <dgm:prSet/>
      <dgm:spPr/>
      <dgm:t>
        <a:bodyPr/>
        <a:lstStyle/>
        <a:p>
          <a:endParaRPr lang="nl-NL" sz="1000"/>
        </a:p>
      </dgm:t>
    </dgm:pt>
    <dgm:pt modelId="{DE6A453F-2629-4B65-903F-D41D3D5F3A92}" type="sibTrans" cxnId="{2E6CD061-5211-49EC-9292-53AC3A9AD1E4}">
      <dgm:prSet/>
      <dgm:spPr/>
      <dgm:t>
        <a:bodyPr/>
        <a:lstStyle/>
        <a:p>
          <a:endParaRPr lang="nl-NL" sz="1000"/>
        </a:p>
      </dgm:t>
    </dgm:pt>
    <dgm:pt modelId="{23193460-2B00-4BBA-B2EF-55CC2B44251D}">
      <dgm:prSet custT="1"/>
      <dgm:spPr>
        <a:solidFill>
          <a:srgbClr val="C00000"/>
        </a:solidFill>
        <a:ln>
          <a:solidFill>
            <a:schemeClr val="bg1"/>
          </a:solidFill>
        </a:ln>
      </dgm:spPr>
      <dgm:t>
        <a:bodyPr/>
        <a:lstStyle/>
        <a:p>
          <a:r>
            <a:rPr lang="nl-NL" sz="1000">
              <a:solidFill>
                <a:schemeClr val="bg1"/>
              </a:solidFill>
            </a:rPr>
            <a:t>Infrastructuur</a:t>
          </a:r>
        </a:p>
      </dgm:t>
    </dgm:pt>
    <dgm:pt modelId="{9039EAD3-CDDB-4CC8-A3AF-7A425DFF7FAF}" type="parTrans" cxnId="{9B937BAE-08F9-42AE-AC98-6AD3DC9FA8CB}">
      <dgm:prSet/>
      <dgm:spPr/>
      <dgm:t>
        <a:bodyPr/>
        <a:lstStyle/>
        <a:p>
          <a:endParaRPr lang="nl-NL" sz="1000"/>
        </a:p>
      </dgm:t>
    </dgm:pt>
    <dgm:pt modelId="{B40E2452-A66F-4500-9BFD-26EFE8F1C46C}" type="sibTrans" cxnId="{9B937BAE-08F9-42AE-AC98-6AD3DC9FA8CB}">
      <dgm:prSet/>
      <dgm:spPr/>
      <dgm:t>
        <a:bodyPr/>
        <a:lstStyle/>
        <a:p>
          <a:endParaRPr lang="nl-NL" sz="1000"/>
        </a:p>
      </dgm:t>
    </dgm:pt>
    <dgm:pt modelId="{77057A3B-3645-4900-95DC-090CD2DB9683}">
      <dgm:prSet custT="1"/>
      <dgm:spPr>
        <a:solidFill>
          <a:srgbClr val="C00000"/>
        </a:solidFill>
        <a:ln>
          <a:solidFill>
            <a:schemeClr val="bg1"/>
          </a:solidFill>
        </a:ln>
      </dgm:spPr>
      <dgm:t>
        <a:bodyPr/>
        <a:lstStyle/>
        <a:p>
          <a:r>
            <a:rPr lang="nl-NL" sz="1000">
              <a:solidFill>
                <a:schemeClr val="bg1"/>
              </a:solidFill>
            </a:rPr>
            <a:t>Werkplek-beheer</a:t>
          </a:r>
        </a:p>
      </dgm:t>
    </dgm:pt>
    <dgm:pt modelId="{0EC6A81B-C8FD-4EEF-8570-8C98DBB1A73C}" type="parTrans" cxnId="{1F843F8A-097C-4D1E-8BE9-55D51C74877D}">
      <dgm:prSet/>
      <dgm:spPr/>
      <dgm:t>
        <a:bodyPr/>
        <a:lstStyle/>
        <a:p>
          <a:endParaRPr lang="nl-NL" sz="1000"/>
        </a:p>
      </dgm:t>
    </dgm:pt>
    <dgm:pt modelId="{7A3E30EB-3E1C-4BF9-8CCF-CAA3571ACFB7}" type="sibTrans" cxnId="{1F843F8A-097C-4D1E-8BE9-55D51C74877D}">
      <dgm:prSet/>
      <dgm:spPr/>
      <dgm:t>
        <a:bodyPr/>
        <a:lstStyle/>
        <a:p>
          <a:endParaRPr lang="nl-NL" sz="1000"/>
        </a:p>
      </dgm:t>
    </dgm:pt>
    <dgm:pt modelId="{746BBA83-FC51-4B44-8C3D-F93ACED5A830}">
      <dgm:prSet custT="1"/>
      <dgm:spPr/>
      <dgm:t>
        <a:bodyPr/>
        <a:lstStyle/>
        <a:p>
          <a:r>
            <a:rPr lang="nl-NL" sz="900"/>
            <a:t>Verdere automatisering doorvoeren in nieuwe database en workflow applicatie</a:t>
          </a:r>
        </a:p>
      </dgm:t>
    </dgm:pt>
    <dgm:pt modelId="{43D31E03-9F7F-4CDB-BA1E-5B60E76E75A0}" type="parTrans" cxnId="{5C8C9688-845D-407B-8262-856083BB8B02}">
      <dgm:prSet/>
      <dgm:spPr/>
      <dgm:t>
        <a:bodyPr/>
        <a:lstStyle/>
        <a:p>
          <a:endParaRPr lang="nl-NL" sz="1000"/>
        </a:p>
      </dgm:t>
    </dgm:pt>
    <dgm:pt modelId="{645A86AD-7CFE-406C-A490-80E89BBD3A4A}" type="sibTrans" cxnId="{5C8C9688-845D-407B-8262-856083BB8B02}">
      <dgm:prSet/>
      <dgm:spPr/>
      <dgm:t>
        <a:bodyPr/>
        <a:lstStyle/>
        <a:p>
          <a:endParaRPr lang="nl-NL" sz="1000"/>
        </a:p>
      </dgm:t>
    </dgm:pt>
    <dgm:pt modelId="{20446483-3131-45C6-9B63-8672E75978B6}">
      <dgm:prSet custT="1"/>
      <dgm:spPr/>
      <dgm:t>
        <a:bodyPr/>
        <a:lstStyle/>
        <a:p>
          <a:endParaRPr lang="nl-NL" sz="900"/>
        </a:p>
      </dgm:t>
    </dgm:pt>
    <dgm:pt modelId="{C592FC82-2CCB-41D1-AB19-C1027B3220DC}" type="parTrans" cxnId="{6AC51181-18CA-4071-8671-E723CB2F83E3}">
      <dgm:prSet/>
      <dgm:spPr/>
      <dgm:t>
        <a:bodyPr/>
        <a:lstStyle/>
        <a:p>
          <a:endParaRPr lang="nl-NL" sz="1000"/>
        </a:p>
      </dgm:t>
    </dgm:pt>
    <dgm:pt modelId="{744972D6-F7F9-4325-9F4B-A70060987F27}" type="sibTrans" cxnId="{6AC51181-18CA-4071-8671-E723CB2F83E3}">
      <dgm:prSet/>
      <dgm:spPr/>
      <dgm:t>
        <a:bodyPr/>
        <a:lstStyle/>
        <a:p>
          <a:endParaRPr lang="nl-NL" sz="1000"/>
        </a:p>
      </dgm:t>
    </dgm:pt>
    <dgm:pt modelId="{6CE1A86C-5E74-4ADB-95CE-83D1024B8A1B}">
      <dgm:prSet custT="1"/>
      <dgm:spPr/>
      <dgm:t>
        <a:bodyPr/>
        <a:lstStyle/>
        <a:p>
          <a:endParaRPr lang="nl-NL" sz="900"/>
        </a:p>
      </dgm:t>
    </dgm:pt>
    <dgm:pt modelId="{E68E1A5A-6E88-458A-8CB9-F2B234C35568}" type="parTrans" cxnId="{20E0196F-EDD9-474A-9FAF-DF8543639C6C}">
      <dgm:prSet/>
      <dgm:spPr/>
      <dgm:t>
        <a:bodyPr/>
        <a:lstStyle/>
        <a:p>
          <a:endParaRPr lang="nl-NL" sz="1000"/>
        </a:p>
      </dgm:t>
    </dgm:pt>
    <dgm:pt modelId="{CCAC4F14-E3B3-4CA3-9BF7-C73D5E00EE32}" type="sibTrans" cxnId="{20E0196F-EDD9-474A-9FAF-DF8543639C6C}">
      <dgm:prSet/>
      <dgm:spPr/>
      <dgm:t>
        <a:bodyPr/>
        <a:lstStyle/>
        <a:p>
          <a:endParaRPr lang="nl-NL" sz="1000"/>
        </a:p>
      </dgm:t>
    </dgm:pt>
    <dgm:pt modelId="{66E39E7D-DC2E-4284-993D-AFD4E5E98986}">
      <dgm:prSet custT="1"/>
      <dgm:spPr/>
      <dgm:t>
        <a:bodyPr/>
        <a:lstStyle/>
        <a:p>
          <a:r>
            <a:rPr lang="nl-NL" sz="900"/>
            <a:t>Applicaties naar de </a:t>
          </a:r>
          <a:r>
            <a:rPr lang="nl-NL" sz="900" err="1"/>
            <a:t>cloud</a:t>
          </a:r>
          <a:r>
            <a:rPr lang="nl-NL" sz="900"/>
            <a:t> brengen</a:t>
          </a:r>
        </a:p>
      </dgm:t>
    </dgm:pt>
    <dgm:pt modelId="{D2917CAC-F82A-46EF-A20B-2F4A2F94E9FF}" type="parTrans" cxnId="{7B088858-B74C-43E2-9BE5-068D5D9E1AEB}">
      <dgm:prSet/>
      <dgm:spPr/>
      <dgm:t>
        <a:bodyPr/>
        <a:lstStyle/>
        <a:p>
          <a:endParaRPr lang="nl-NL" sz="1000"/>
        </a:p>
      </dgm:t>
    </dgm:pt>
    <dgm:pt modelId="{57835AF8-C1FC-4BCA-8913-7836892EA37D}" type="sibTrans" cxnId="{7B088858-B74C-43E2-9BE5-068D5D9E1AEB}">
      <dgm:prSet/>
      <dgm:spPr/>
      <dgm:t>
        <a:bodyPr/>
        <a:lstStyle/>
        <a:p>
          <a:endParaRPr lang="nl-NL" sz="1000"/>
        </a:p>
      </dgm:t>
    </dgm:pt>
    <dgm:pt modelId="{82B4419E-EA02-41F8-8851-D338BCF00BF0}">
      <dgm:prSet custT="1"/>
      <dgm:spPr/>
      <dgm:t>
        <a:bodyPr/>
        <a:lstStyle/>
        <a:p>
          <a:r>
            <a:rPr lang="nl-NL" sz="900"/>
            <a:t>Cloudstrategie volledig gerealiseerd</a:t>
          </a:r>
        </a:p>
      </dgm:t>
    </dgm:pt>
    <dgm:pt modelId="{7A7B7C56-B4C7-4671-B013-0CA3A660B3FD}" type="parTrans" cxnId="{1E19AF31-A63C-4F46-B482-F715C1BB40D5}">
      <dgm:prSet/>
      <dgm:spPr/>
      <dgm:t>
        <a:bodyPr/>
        <a:lstStyle/>
        <a:p>
          <a:endParaRPr lang="nl-NL" sz="1000"/>
        </a:p>
      </dgm:t>
    </dgm:pt>
    <dgm:pt modelId="{90965BCE-1684-471D-AE9E-22ADC4D55E40}" type="sibTrans" cxnId="{1E19AF31-A63C-4F46-B482-F715C1BB40D5}">
      <dgm:prSet/>
      <dgm:spPr/>
      <dgm:t>
        <a:bodyPr/>
        <a:lstStyle/>
        <a:p>
          <a:endParaRPr lang="nl-NL" sz="1000"/>
        </a:p>
      </dgm:t>
    </dgm:pt>
    <dgm:pt modelId="{151429BB-703C-4837-AEAE-FB6E3DE6D505}">
      <dgm:prSet custT="1"/>
      <dgm:spPr/>
      <dgm:t>
        <a:bodyPr/>
        <a:lstStyle/>
        <a:p>
          <a:r>
            <a:rPr lang="nl-NL" sz="900"/>
            <a:t>Proces extra uren automatiseren</a:t>
          </a:r>
        </a:p>
      </dgm:t>
    </dgm:pt>
    <dgm:pt modelId="{CE2A0741-45C2-4BEA-BD64-023BC7622332}" type="parTrans" cxnId="{8F30F11D-E87C-429F-A3B7-14360FA410AD}">
      <dgm:prSet/>
      <dgm:spPr/>
      <dgm:t>
        <a:bodyPr/>
        <a:lstStyle/>
        <a:p>
          <a:endParaRPr lang="nl-NL" sz="1000"/>
        </a:p>
      </dgm:t>
    </dgm:pt>
    <dgm:pt modelId="{31B627E5-D5DC-4932-8CC6-E7930B6676D9}" type="sibTrans" cxnId="{8F30F11D-E87C-429F-A3B7-14360FA410AD}">
      <dgm:prSet/>
      <dgm:spPr/>
      <dgm:t>
        <a:bodyPr/>
        <a:lstStyle/>
        <a:p>
          <a:endParaRPr lang="nl-NL" sz="1000"/>
        </a:p>
      </dgm:t>
    </dgm:pt>
    <dgm:pt modelId="{4E20D29C-B6C9-440B-AFF3-AEF13A3A4C36}">
      <dgm:prSet custT="1"/>
      <dgm:spPr/>
      <dgm:t>
        <a:bodyPr/>
        <a:lstStyle/>
        <a:p>
          <a:r>
            <a:rPr lang="nl-NL" sz="900"/>
            <a:t>Zelfselectie rechtshulppakketten inrichten</a:t>
          </a:r>
        </a:p>
      </dgm:t>
    </dgm:pt>
    <dgm:pt modelId="{0AC3526D-14AD-4864-BC54-CA2EC525943F}" type="parTrans" cxnId="{20329975-211D-4A3A-8C0F-DD54C84AD3BD}">
      <dgm:prSet/>
      <dgm:spPr/>
      <dgm:t>
        <a:bodyPr/>
        <a:lstStyle/>
        <a:p>
          <a:endParaRPr lang="nl-NL" sz="1000"/>
        </a:p>
      </dgm:t>
    </dgm:pt>
    <dgm:pt modelId="{18736C93-2A1D-4F22-8952-5A44ED9B99A1}" type="sibTrans" cxnId="{20329975-211D-4A3A-8C0F-DD54C84AD3BD}">
      <dgm:prSet/>
      <dgm:spPr/>
      <dgm:t>
        <a:bodyPr/>
        <a:lstStyle/>
        <a:p>
          <a:endParaRPr lang="nl-NL" sz="1000"/>
        </a:p>
      </dgm:t>
    </dgm:pt>
    <dgm:pt modelId="{AA8DBEC3-5730-473F-B244-820415D3B97D}">
      <dgm:prSet custT="1"/>
      <dgm:spPr/>
      <dgm:t>
        <a:bodyPr/>
        <a:lstStyle/>
        <a:p>
          <a:r>
            <a:rPr lang="nl-NL" sz="900"/>
            <a:t>Burgerportaal uitbreiden en realiseren</a:t>
          </a:r>
        </a:p>
      </dgm:t>
    </dgm:pt>
    <dgm:pt modelId="{FF21C5BA-C31C-4EE9-8435-9F3E74196BB2}" type="parTrans" cxnId="{A19ED3F0-D3F5-4544-A864-F0CB4CCF69B9}">
      <dgm:prSet/>
      <dgm:spPr/>
      <dgm:t>
        <a:bodyPr/>
        <a:lstStyle/>
        <a:p>
          <a:endParaRPr lang="nl-NL" sz="1000"/>
        </a:p>
      </dgm:t>
    </dgm:pt>
    <dgm:pt modelId="{016D74AE-0885-463A-8830-0E4EE253A780}" type="sibTrans" cxnId="{A19ED3F0-D3F5-4544-A864-F0CB4CCF69B9}">
      <dgm:prSet/>
      <dgm:spPr/>
      <dgm:t>
        <a:bodyPr/>
        <a:lstStyle/>
        <a:p>
          <a:endParaRPr lang="nl-NL" sz="1000"/>
        </a:p>
      </dgm:t>
    </dgm:pt>
    <dgm:pt modelId="{1CEA679C-96CA-460E-AC4E-1582F3BE9109}">
      <dgm:prSet custT="1"/>
      <dgm:spPr>
        <a:solidFill>
          <a:schemeClr val="accent1">
            <a:lumMod val="90000"/>
            <a:alpha val="90000"/>
          </a:schemeClr>
        </a:solidFill>
      </dgm:spPr>
      <dgm:t>
        <a:bodyPr/>
        <a:lstStyle/>
        <a:p>
          <a:r>
            <a:rPr lang="nl-NL" sz="900"/>
            <a:t>Cloudstrategie vastgesteld</a:t>
          </a:r>
        </a:p>
      </dgm:t>
    </dgm:pt>
    <dgm:pt modelId="{142C46B5-687D-479B-9E79-40DA7F5DEF44}" type="parTrans" cxnId="{FF888F5F-DB76-4362-9E36-8483708879BB}">
      <dgm:prSet/>
      <dgm:spPr/>
      <dgm:t>
        <a:bodyPr/>
        <a:lstStyle/>
        <a:p>
          <a:endParaRPr lang="nl-NL" sz="1000"/>
        </a:p>
      </dgm:t>
    </dgm:pt>
    <dgm:pt modelId="{6F495585-C16D-46B3-BD6D-CD5560F9DB86}" type="sibTrans" cxnId="{FF888F5F-DB76-4362-9E36-8483708879BB}">
      <dgm:prSet/>
      <dgm:spPr/>
      <dgm:t>
        <a:bodyPr/>
        <a:lstStyle/>
        <a:p>
          <a:endParaRPr lang="nl-NL" sz="1000"/>
        </a:p>
      </dgm:t>
    </dgm:pt>
    <dgm:pt modelId="{9A17E9D9-E8F2-4A3D-B3C2-0BF77FF6D42E}">
      <dgm:prSet custT="1"/>
      <dgm:spPr/>
      <dgm:t>
        <a:bodyPr/>
        <a:lstStyle/>
        <a:p>
          <a:r>
            <a:rPr lang="nl-NL" sz="900"/>
            <a:t>Applicaties naar de </a:t>
          </a:r>
          <a:r>
            <a:rPr lang="nl-NL" sz="900" err="1"/>
            <a:t>cloud</a:t>
          </a:r>
          <a:r>
            <a:rPr lang="nl-NL" sz="900"/>
            <a:t> brengen</a:t>
          </a:r>
        </a:p>
      </dgm:t>
    </dgm:pt>
    <dgm:pt modelId="{1E3B8620-2598-4AD1-B142-4BF992FCC7D5}" type="parTrans" cxnId="{7BFCD170-6D7A-4815-B43E-FC0D2CF65DDA}">
      <dgm:prSet/>
      <dgm:spPr/>
      <dgm:t>
        <a:bodyPr/>
        <a:lstStyle/>
        <a:p>
          <a:endParaRPr lang="nl-NL" sz="1000"/>
        </a:p>
      </dgm:t>
    </dgm:pt>
    <dgm:pt modelId="{E69B4927-D436-46DC-B02B-BBE2B2FB337F}" type="sibTrans" cxnId="{7BFCD170-6D7A-4815-B43E-FC0D2CF65DDA}">
      <dgm:prSet/>
      <dgm:spPr/>
      <dgm:t>
        <a:bodyPr/>
        <a:lstStyle/>
        <a:p>
          <a:endParaRPr lang="nl-NL" sz="1000"/>
        </a:p>
      </dgm:t>
    </dgm:pt>
    <dgm:pt modelId="{7EDDC5A2-9A6F-4101-B5CB-77EDED0EB09F}">
      <dgm:prSet custT="1"/>
      <dgm:spPr/>
      <dgm:t>
        <a:bodyPr/>
        <a:lstStyle/>
        <a:p>
          <a:r>
            <a:rPr lang="nl-NL" sz="900"/>
            <a:t>Applicaties naar de </a:t>
          </a:r>
          <a:r>
            <a:rPr lang="nl-NL" sz="900" err="1"/>
            <a:t>cloud</a:t>
          </a:r>
          <a:r>
            <a:rPr lang="nl-NL" sz="900"/>
            <a:t> brengen</a:t>
          </a:r>
        </a:p>
      </dgm:t>
    </dgm:pt>
    <dgm:pt modelId="{994A2668-1209-4FF4-84C6-EBEFEE5719F7}" type="parTrans" cxnId="{3C475407-F480-4626-964A-7BA9A53E8463}">
      <dgm:prSet/>
      <dgm:spPr/>
      <dgm:t>
        <a:bodyPr/>
        <a:lstStyle/>
        <a:p>
          <a:endParaRPr lang="nl-NL" sz="1000"/>
        </a:p>
      </dgm:t>
    </dgm:pt>
    <dgm:pt modelId="{6F48EEA3-B2B6-4574-A8AF-5F75DE2E1693}" type="sibTrans" cxnId="{3C475407-F480-4626-964A-7BA9A53E8463}">
      <dgm:prSet/>
      <dgm:spPr/>
      <dgm:t>
        <a:bodyPr/>
        <a:lstStyle/>
        <a:p>
          <a:endParaRPr lang="nl-NL" sz="1000"/>
        </a:p>
      </dgm:t>
    </dgm:pt>
    <dgm:pt modelId="{27A89387-7B3B-4188-A28B-6E38537CFD19}">
      <dgm:prSet custT="1"/>
      <dgm:spPr>
        <a:solidFill>
          <a:schemeClr val="accent1">
            <a:lumMod val="90000"/>
            <a:alpha val="90000"/>
          </a:schemeClr>
        </a:solidFill>
      </dgm:spPr>
      <dgm:t>
        <a:bodyPr/>
        <a:lstStyle/>
        <a:p>
          <a:r>
            <a:rPr lang="nl-NL" sz="900"/>
            <a:t>Telefonie opnieuw aanbesteden en inrichten</a:t>
          </a:r>
        </a:p>
        <a:p>
          <a:r>
            <a:rPr lang="nl-NL" sz="900"/>
            <a:t>MDM opstarten en inrichten</a:t>
          </a:r>
        </a:p>
        <a:p>
          <a:r>
            <a:rPr lang="nl-NL" sz="900"/>
            <a:t>Start visie op ‘werkplek van de toekomst’</a:t>
          </a:r>
        </a:p>
      </dgm:t>
    </dgm:pt>
    <dgm:pt modelId="{3740C790-FB91-4EEF-9193-83BDD7896895}" type="parTrans" cxnId="{0F2B4D9A-D250-4509-8C2D-04C9963529A6}">
      <dgm:prSet/>
      <dgm:spPr/>
      <dgm:t>
        <a:bodyPr/>
        <a:lstStyle/>
        <a:p>
          <a:endParaRPr lang="nl-NL" sz="1000"/>
        </a:p>
      </dgm:t>
    </dgm:pt>
    <dgm:pt modelId="{FCD6D5E8-E559-4B35-8AD2-0764F3E4CB3B}" type="sibTrans" cxnId="{0F2B4D9A-D250-4509-8C2D-04C9963529A6}">
      <dgm:prSet/>
      <dgm:spPr/>
      <dgm:t>
        <a:bodyPr/>
        <a:lstStyle/>
        <a:p>
          <a:endParaRPr lang="nl-NL" sz="1000"/>
        </a:p>
      </dgm:t>
    </dgm:pt>
    <dgm:pt modelId="{6292E6EC-41DE-43DC-8EBD-D60A29E30E3A}">
      <dgm:prSet custT="1"/>
      <dgm:spPr/>
      <dgm:t>
        <a:bodyPr lIns="0"/>
        <a:lstStyle/>
        <a:p>
          <a:pPr>
            <a:spcAft>
              <a:spcPts val="600"/>
            </a:spcAft>
          </a:pPr>
          <a:r>
            <a:rPr lang="nl-NL" sz="900"/>
            <a:t>Implementatie nieuwe telefonieleverancier</a:t>
          </a:r>
        </a:p>
        <a:p>
          <a:pPr>
            <a:spcAft>
              <a:spcPts val="600"/>
            </a:spcAft>
          </a:pPr>
          <a:r>
            <a:rPr lang="nl-NL" sz="900"/>
            <a:t>Visie ‘Werkplek van de toekomst’ rond</a:t>
          </a:r>
        </a:p>
      </dgm:t>
    </dgm:pt>
    <dgm:pt modelId="{0E4480AF-2094-4189-98C1-03DE33A39523}" type="parTrans" cxnId="{B35D16C5-CE97-4817-8DCB-A32915EBD9A3}">
      <dgm:prSet/>
      <dgm:spPr/>
      <dgm:t>
        <a:bodyPr/>
        <a:lstStyle/>
        <a:p>
          <a:endParaRPr lang="nl-NL" sz="1000"/>
        </a:p>
      </dgm:t>
    </dgm:pt>
    <dgm:pt modelId="{4E923F6B-0FC9-4D73-B3A0-BF03729328D8}" type="sibTrans" cxnId="{B35D16C5-CE97-4817-8DCB-A32915EBD9A3}">
      <dgm:prSet/>
      <dgm:spPr/>
      <dgm:t>
        <a:bodyPr/>
        <a:lstStyle/>
        <a:p>
          <a:endParaRPr lang="nl-NL" sz="1000"/>
        </a:p>
      </dgm:t>
    </dgm:pt>
    <dgm:pt modelId="{C869D024-6F94-4126-B283-6DC434C89154}">
      <dgm:prSet custT="1"/>
      <dgm:spPr/>
      <dgm:t>
        <a:bodyPr/>
        <a:lstStyle/>
        <a:p>
          <a:r>
            <a:rPr lang="nl-NL" sz="900"/>
            <a:t>Werkplek van de toekomst implementeren</a:t>
          </a:r>
        </a:p>
      </dgm:t>
    </dgm:pt>
    <dgm:pt modelId="{065D051E-7E8B-4B3A-8F40-D8B67EEB97E8}" type="parTrans" cxnId="{7CE56B18-CF79-43BF-AA17-4A5CA53C6967}">
      <dgm:prSet/>
      <dgm:spPr/>
      <dgm:t>
        <a:bodyPr/>
        <a:lstStyle/>
        <a:p>
          <a:endParaRPr lang="nl-NL" sz="1000"/>
        </a:p>
      </dgm:t>
    </dgm:pt>
    <dgm:pt modelId="{16ACF173-BA7E-4685-843F-5588E59D116A}" type="sibTrans" cxnId="{7CE56B18-CF79-43BF-AA17-4A5CA53C6967}">
      <dgm:prSet/>
      <dgm:spPr/>
      <dgm:t>
        <a:bodyPr/>
        <a:lstStyle/>
        <a:p>
          <a:endParaRPr lang="nl-NL" sz="1000"/>
        </a:p>
      </dgm:t>
    </dgm:pt>
    <dgm:pt modelId="{62D61A53-2D9E-484A-A2DF-FA5F8026FDCE}">
      <dgm:prSet custT="1"/>
      <dgm:spPr/>
      <dgm:t>
        <a:bodyPr/>
        <a:lstStyle/>
        <a:p>
          <a:r>
            <a:rPr lang="nl-NL" sz="900"/>
            <a:t>Werkplek van de toekomst implementeren</a:t>
          </a:r>
        </a:p>
      </dgm:t>
    </dgm:pt>
    <dgm:pt modelId="{378F7EAA-89FC-40D8-A78F-65E528C91DC0}" type="parTrans" cxnId="{40D9CC99-76AD-4E8E-A1AC-7A60971EB6FF}">
      <dgm:prSet/>
      <dgm:spPr/>
      <dgm:t>
        <a:bodyPr/>
        <a:lstStyle/>
        <a:p>
          <a:endParaRPr lang="nl-NL" sz="1000"/>
        </a:p>
      </dgm:t>
    </dgm:pt>
    <dgm:pt modelId="{0741CA5F-C53B-4587-A516-C633F65D31E4}" type="sibTrans" cxnId="{40D9CC99-76AD-4E8E-A1AC-7A60971EB6FF}">
      <dgm:prSet/>
      <dgm:spPr/>
      <dgm:t>
        <a:bodyPr/>
        <a:lstStyle/>
        <a:p>
          <a:endParaRPr lang="nl-NL" sz="1000"/>
        </a:p>
      </dgm:t>
    </dgm:pt>
    <dgm:pt modelId="{8835A891-43B3-4F45-A35D-0FEC54C4FA75}">
      <dgm:prSet custT="1"/>
      <dgm:spPr/>
      <dgm:t>
        <a:bodyPr/>
        <a:lstStyle/>
        <a:p>
          <a:r>
            <a:rPr lang="nl-NL" sz="900"/>
            <a:t>Werkplek van de toekomst implementeren</a:t>
          </a:r>
        </a:p>
      </dgm:t>
    </dgm:pt>
    <dgm:pt modelId="{6E2213D1-0573-4675-98DA-0076CF75465F}" type="parTrans" cxnId="{07B7B9FE-65A9-44AC-B2BC-1638D12F3448}">
      <dgm:prSet/>
      <dgm:spPr/>
      <dgm:t>
        <a:bodyPr/>
        <a:lstStyle/>
        <a:p>
          <a:endParaRPr lang="nl-NL" sz="1000"/>
        </a:p>
      </dgm:t>
    </dgm:pt>
    <dgm:pt modelId="{6558BD01-4C77-4722-AF95-E83635287790}" type="sibTrans" cxnId="{07B7B9FE-65A9-44AC-B2BC-1638D12F3448}">
      <dgm:prSet/>
      <dgm:spPr/>
      <dgm:t>
        <a:bodyPr/>
        <a:lstStyle/>
        <a:p>
          <a:endParaRPr lang="nl-NL" sz="1000"/>
        </a:p>
      </dgm:t>
    </dgm:pt>
    <dgm:pt modelId="{1DE78E1A-287A-4644-911E-2C3E7FDD395B}" type="pres">
      <dgm:prSet presAssocID="{A4C25754-AF2E-445A-B1C4-208C361E3027}" presName="Name0" presStyleCnt="0">
        <dgm:presLayoutVars>
          <dgm:chPref val="3"/>
          <dgm:dir/>
          <dgm:animLvl val="lvl"/>
          <dgm:resizeHandles/>
        </dgm:presLayoutVars>
      </dgm:prSet>
      <dgm:spPr/>
      <dgm:t>
        <a:bodyPr/>
        <a:lstStyle/>
        <a:p>
          <a:endParaRPr lang="nl-NL"/>
        </a:p>
      </dgm:t>
    </dgm:pt>
    <dgm:pt modelId="{1A84AAE2-0808-451B-B00F-51978064A56A}" type="pres">
      <dgm:prSet presAssocID="{647DD7A5-0012-436B-BAB9-BDE52DC25B90}" presName="horFlow" presStyleCnt="0"/>
      <dgm:spPr/>
    </dgm:pt>
    <dgm:pt modelId="{F6E04653-AC57-46CE-A503-3CBBAD1D7D39}" type="pres">
      <dgm:prSet presAssocID="{647DD7A5-0012-436B-BAB9-BDE52DC25B90}" presName="bigChev" presStyleLbl="node1" presStyleIdx="0" presStyleCnt="5" custScaleX="84206"/>
      <dgm:spPr/>
      <dgm:t>
        <a:bodyPr/>
        <a:lstStyle/>
        <a:p>
          <a:endParaRPr lang="nl-NL"/>
        </a:p>
      </dgm:t>
    </dgm:pt>
    <dgm:pt modelId="{2FD405EF-9A12-4113-837F-4235A9C8BCDF}" type="pres">
      <dgm:prSet presAssocID="{583416F9-FBC6-4C82-8614-951CEE12CD70}" presName="parTrans" presStyleCnt="0"/>
      <dgm:spPr/>
    </dgm:pt>
    <dgm:pt modelId="{9E6C8AC0-5D21-43F3-83C4-CC1B7203E690}" type="pres">
      <dgm:prSet presAssocID="{6D8F2393-DBD3-466D-BB9D-AE10062D1E45}" presName="node" presStyleLbl="alignAccFollowNode1" presStyleIdx="0" presStyleCnt="25" custScaleX="119879" custScaleY="120095">
        <dgm:presLayoutVars>
          <dgm:bulletEnabled val="1"/>
        </dgm:presLayoutVars>
      </dgm:prSet>
      <dgm:spPr/>
      <dgm:t>
        <a:bodyPr/>
        <a:lstStyle/>
        <a:p>
          <a:endParaRPr lang="nl-NL"/>
        </a:p>
      </dgm:t>
    </dgm:pt>
    <dgm:pt modelId="{12437B27-DC93-4BD7-BC2C-B48051EB2B27}" type="pres">
      <dgm:prSet presAssocID="{03DE5228-1E63-4C54-9AE4-3B883B2F1DBA}" presName="sibTrans" presStyleCnt="0"/>
      <dgm:spPr/>
    </dgm:pt>
    <dgm:pt modelId="{5F155100-7715-4A17-90EE-690DB2345E60}" type="pres">
      <dgm:prSet presAssocID="{545954EC-4953-467F-8E27-933BAB5A8E05}" presName="node" presStyleLbl="alignAccFollowNode1" presStyleIdx="1" presStyleCnt="25" custScaleX="119879" custScaleY="120096">
        <dgm:presLayoutVars>
          <dgm:bulletEnabled val="1"/>
        </dgm:presLayoutVars>
      </dgm:prSet>
      <dgm:spPr/>
      <dgm:t>
        <a:bodyPr/>
        <a:lstStyle/>
        <a:p>
          <a:endParaRPr lang="nl-NL"/>
        </a:p>
      </dgm:t>
    </dgm:pt>
    <dgm:pt modelId="{556E6604-75C8-47B9-8F4D-7B0C112FFCB2}" type="pres">
      <dgm:prSet presAssocID="{3195B29B-0B9A-47B3-B2F4-4FDC8876F8E7}" presName="sibTrans" presStyleCnt="0"/>
      <dgm:spPr/>
    </dgm:pt>
    <dgm:pt modelId="{7BCA09AF-73D2-4619-A7A7-F58A620080A0}" type="pres">
      <dgm:prSet presAssocID="{0EEE7DE5-2B00-458B-BCAB-CB504BAD12E7}" presName="node" presStyleLbl="alignAccFollowNode1" presStyleIdx="2" presStyleCnt="25" custScaleX="119879" custScaleY="120096">
        <dgm:presLayoutVars>
          <dgm:bulletEnabled val="1"/>
        </dgm:presLayoutVars>
      </dgm:prSet>
      <dgm:spPr/>
      <dgm:t>
        <a:bodyPr/>
        <a:lstStyle/>
        <a:p>
          <a:endParaRPr lang="nl-NL"/>
        </a:p>
      </dgm:t>
    </dgm:pt>
    <dgm:pt modelId="{6993564F-6DB6-4935-B3A0-CE9427733D38}" type="pres">
      <dgm:prSet presAssocID="{9F4A5B04-0051-4F5D-9849-79FF15B78EF0}" presName="sibTrans" presStyleCnt="0"/>
      <dgm:spPr/>
    </dgm:pt>
    <dgm:pt modelId="{6F58A52D-AFF9-49F5-8538-1AB9A54C1571}" type="pres">
      <dgm:prSet presAssocID="{1F00858C-756E-438F-ACFC-655C02058CEA}" presName="node" presStyleLbl="alignAccFollowNode1" presStyleIdx="3" presStyleCnt="25" custScaleX="119879" custScaleY="120096">
        <dgm:presLayoutVars>
          <dgm:bulletEnabled val="1"/>
        </dgm:presLayoutVars>
      </dgm:prSet>
      <dgm:spPr/>
      <dgm:t>
        <a:bodyPr/>
        <a:lstStyle/>
        <a:p>
          <a:endParaRPr lang="nl-NL"/>
        </a:p>
      </dgm:t>
    </dgm:pt>
    <dgm:pt modelId="{26A65A6A-FEA9-4FF4-AB74-E96C5C5FD924}" type="pres">
      <dgm:prSet presAssocID="{E87351C3-C3F4-4BF9-BC9D-FD82FB04DFC6}" presName="sibTrans" presStyleCnt="0"/>
      <dgm:spPr/>
    </dgm:pt>
    <dgm:pt modelId="{9DA68F1C-8A13-4764-9EED-8C5C1AC113E6}" type="pres">
      <dgm:prSet presAssocID="{2B87F55F-3DDA-4DB8-85DC-69C630658C4A}" presName="node" presStyleLbl="alignAccFollowNode1" presStyleIdx="4" presStyleCnt="25" custScaleX="119879" custScaleY="120096">
        <dgm:presLayoutVars>
          <dgm:bulletEnabled val="1"/>
        </dgm:presLayoutVars>
      </dgm:prSet>
      <dgm:spPr/>
      <dgm:t>
        <a:bodyPr/>
        <a:lstStyle/>
        <a:p>
          <a:endParaRPr lang="nl-NL"/>
        </a:p>
      </dgm:t>
    </dgm:pt>
    <dgm:pt modelId="{0D952C92-7C21-4671-AE94-64DCC08CB47C}" type="pres">
      <dgm:prSet presAssocID="{647DD7A5-0012-436B-BAB9-BDE52DC25B90}" presName="vSp" presStyleCnt="0"/>
      <dgm:spPr/>
    </dgm:pt>
    <dgm:pt modelId="{FED88096-892B-4EC2-9E54-1AC122C68345}" type="pres">
      <dgm:prSet presAssocID="{22C9BA16-C912-4AB8-B16E-FF797935FE95}" presName="horFlow" presStyleCnt="0"/>
      <dgm:spPr/>
    </dgm:pt>
    <dgm:pt modelId="{45A1425D-2946-43E1-B1EC-77043B192449}" type="pres">
      <dgm:prSet presAssocID="{22C9BA16-C912-4AB8-B16E-FF797935FE95}" presName="bigChev" presStyleLbl="node1" presStyleIdx="1" presStyleCnt="5" custScaleX="84206"/>
      <dgm:spPr/>
      <dgm:t>
        <a:bodyPr/>
        <a:lstStyle/>
        <a:p>
          <a:endParaRPr lang="nl-NL"/>
        </a:p>
      </dgm:t>
    </dgm:pt>
    <dgm:pt modelId="{6EDFC9BE-7488-47C8-9C6B-A9C6D1E82C02}" type="pres">
      <dgm:prSet presAssocID="{7C76C83D-CE5B-4D7C-AD83-B4E39CEEF00A}" presName="parTrans" presStyleCnt="0"/>
      <dgm:spPr/>
    </dgm:pt>
    <dgm:pt modelId="{050DB05E-783F-4CCF-9747-F95A7E32D478}" type="pres">
      <dgm:prSet presAssocID="{17FA8828-52A2-4AF5-B391-AB85135831D1}" presName="node" presStyleLbl="alignAccFollowNode1" presStyleIdx="5" presStyleCnt="25" custScaleX="119879" custScaleY="120095">
        <dgm:presLayoutVars>
          <dgm:bulletEnabled val="1"/>
        </dgm:presLayoutVars>
      </dgm:prSet>
      <dgm:spPr/>
      <dgm:t>
        <a:bodyPr/>
        <a:lstStyle/>
        <a:p>
          <a:endParaRPr lang="nl-NL"/>
        </a:p>
      </dgm:t>
    </dgm:pt>
    <dgm:pt modelId="{3F8234F6-BDB0-48B1-8C45-48C899BF167B}" type="pres">
      <dgm:prSet presAssocID="{5831FBD0-5DF6-4737-9D40-31BD670C5784}" presName="sibTrans" presStyleCnt="0"/>
      <dgm:spPr/>
    </dgm:pt>
    <dgm:pt modelId="{EE523708-1E1B-4AAA-A918-8F0DB46124F9}" type="pres">
      <dgm:prSet presAssocID="{1C057D00-7046-4C92-8845-E659397CD6FE}" presName="node" presStyleLbl="alignAccFollowNode1" presStyleIdx="6" presStyleCnt="25" custScaleX="119879" custScaleY="120096">
        <dgm:presLayoutVars>
          <dgm:bulletEnabled val="1"/>
        </dgm:presLayoutVars>
      </dgm:prSet>
      <dgm:spPr/>
      <dgm:t>
        <a:bodyPr/>
        <a:lstStyle/>
        <a:p>
          <a:endParaRPr lang="nl-NL"/>
        </a:p>
      </dgm:t>
    </dgm:pt>
    <dgm:pt modelId="{394A353D-2412-4CC3-8B67-F3A0F8C998EB}" type="pres">
      <dgm:prSet presAssocID="{9F92A93D-431C-4D58-AC15-E971BD7417E8}" presName="sibTrans" presStyleCnt="0"/>
      <dgm:spPr/>
    </dgm:pt>
    <dgm:pt modelId="{87B307EE-F7E3-478C-99DF-363D7920F82C}" type="pres">
      <dgm:prSet presAssocID="{151429BB-703C-4837-AEAE-FB6E3DE6D505}" presName="node" presStyleLbl="alignAccFollowNode1" presStyleIdx="7" presStyleCnt="25" custScaleX="119879" custScaleY="120096">
        <dgm:presLayoutVars>
          <dgm:bulletEnabled val="1"/>
        </dgm:presLayoutVars>
      </dgm:prSet>
      <dgm:spPr/>
      <dgm:t>
        <a:bodyPr/>
        <a:lstStyle/>
        <a:p>
          <a:endParaRPr lang="nl-NL"/>
        </a:p>
      </dgm:t>
    </dgm:pt>
    <dgm:pt modelId="{1F7177C5-C327-4167-AB92-530115D8A37A}" type="pres">
      <dgm:prSet presAssocID="{31B627E5-D5DC-4932-8CC6-E7930B6676D9}" presName="sibTrans" presStyleCnt="0"/>
      <dgm:spPr/>
    </dgm:pt>
    <dgm:pt modelId="{CED8139D-1618-489C-91A6-6B435D2A051E}" type="pres">
      <dgm:prSet presAssocID="{746BBA83-FC51-4B44-8C3D-F93ACED5A830}" presName="node" presStyleLbl="alignAccFollowNode1" presStyleIdx="8" presStyleCnt="25" custScaleX="119879" custScaleY="120096">
        <dgm:presLayoutVars>
          <dgm:bulletEnabled val="1"/>
        </dgm:presLayoutVars>
      </dgm:prSet>
      <dgm:spPr/>
      <dgm:t>
        <a:bodyPr/>
        <a:lstStyle/>
        <a:p>
          <a:endParaRPr lang="nl-NL"/>
        </a:p>
      </dgm:t>
    </dgm:pt>
    <dgm:pt modelId="{232C0BA6-DDAE-4F0C-A30C-002BE01369D9}" type="pres">
      <dgm:prSet presAssocID="{645A86AD-7CFE-406C-A490-80E89BBD3A4A}" presName="sibTrans" presStyleCnt="0"/>
      <dgm:spPr/>
    </dgm:pt>
    <dgm:pt modelId="{76A59E32-1369-43F3-BA20-12EAEE339E49}" type="pres">
      <dgm:prSet presAssocID="{20446483-3131-45C6-9B63-8672E75978B6}" presName="node" presStyleLbl="alignAccFollowNode1" presStyleIdx="9" presStyleCnt="25" custScaleX="119879" custScaleY="120096">
        <dgm:presLayoutVars>
          <dgm:bulletEnabled val="1"/>
        </dgm:presLayoutVars>
      </dgm:prSet>
      <dgm:spPr/>
      <dgm:t>
        <a:bodyPr/>
        <a:lstStyle/>
        <a:p>
          <a:endParaRPr lang="nl-NL"/>
        </a:p>
      </dgm:t>
    </dgm:pt>
    <dgm:pt modelId="{91A9BBBC-E226-44ED-B966-18A36F466E5B}" type="pres">
      <dgm:prSet presAssocID="{22C9BA16-C912-4AB8-B16E-FF797935FE95}" presName="vSp" presStyleCnt="0"/>
      <dgm:spPr/>
    </dgm:pt>
    <dgm:pt modelId="{DAD2B607-B187-469D-B28A-EE687D766071}" type="pres">
      <dgm:prSet presAssocID="{1D0431D3-64B3-4A2A-BC98-318609876B89}" presName="horFlow" presStyleCnt="0"/>
      <dgm:spPr/>
    </dgm:pt>
    <dgm:pt modelId="{AC514612-8832-4B0F-86D0-3200CCE54AE0}" type="pres">
      <dgm:prSet presAssocID="{1D0431D3-64B3-4A2A-BC98-318609876B89}" presName="bigChev" presStyleLbl="node1" presStyleIdx="2" presStyleCnt="5" custScaleX="84206"/>
      <dgm:spPr/>
      <dgm:t>
        <a:bodyPr/>
        <a:lstStyle/>
        <a:p>
          <a:endParaRPr lang="nl-NL"/>
        </a:p>
      </dgm:t>
    </dgm:pt>
    <dgm:pt modelId="{71A396D0-074E-437B-B2EF-A0B34E0BE7F7}" type="pres">
      <dgm:prSet presAssocID="{7BCAD824-9F6C-4E51-8307-99177976A87F}" presName="parTrans" presStyleCnt="0"/>
      <dgm:spPr/>
    </dgm:pt>
    <dgm:pt modelId="{F6BDEFCB-7EF5-4C67-9CC3-C8A5F8837BEC}" type="pres">
      <dgm:prSet presAssocID="{C0C666D5-C6AE-48A4-8BEB-1E0B4423CC7F}" presName="node" presStyleLbl="alignAccFollowNode1" presStyleIdx="10" presStyleCnt="25" custScaleX="119879" custScaleY="120095">
        <dgm:presLayoutVars>
          <dgm:bulletEnabled val="1"/>
        </dgm:presLayoutVars>
      </dgm:prSet>
      <dgm:spPr/>
      <dgm:t>
        <a:bodyPr/>
        <a:lstStyle/>
        <a:p>
          <a:endParaRPr lang="nl-NL"/>
        </a:p>
      </dgm:t>
    </dgm:pt>
    <dgm:pt modelId="{AB380205-9165-48BE-90AF-1D37155F4626}" type="pres">
      <dgm:prSet presAssocID="{DEFB9FE7-85F7-46CA-BCD3-991BFEB6948F}" presName="sibTrans" presStyleCnt="0"/>
      <dgm:spPr/>
    </dgm:pt>
    <dgm:pt modelId="{58186B43-07B2-485C-BAFC-A38A2D2CA252}" type="pres">
      <dgm:prSet presAssocID="{1DD1AC1D-B569-457A-ABD8-ECBDB05C5B6B}" presName="node" presStyleLbl="alignAccFollowNode1" presStyleIdx="11" presStyleCnt="25" custScaleX="119879" custScaleY="120096">
        <dgm:presLayoutVars>
          <dgm:bulletEnabled val="1"/>
        </dgm:presLayoutVars>
      </dgm:prSet>
      <dgm:spPr/>
      <dgm:t>
        <a:bodyPr/>
        <a:lstStyle/>
        <a:p>
          <a:endParaRPr lang="nl-NL"/>
        </a:p>
      </dgm:t>
    </dgm:pt>
    <dgm:pt modelId="{7D78B4A9-2CA2-46A7-9724-90A84F6E3D1B}" type="pres">
      <dgm:prSet presAssocID="{B22F1A8F-FD9D-4176-86A1-F295A23BFA9F}" presName="sibTrans" presStyleCnt="0"/>
      <dgm:spPr/>
    </dgm:pt>
    <dgm:pt modelId="{0147A711-EAE7-444C-88B2-0E0CB88E6274}" type="pres">
      <dgm:prSet presAssocID="{4E20D29C-B6C9-440B-AFF3-AEF13A3A4C36}" presName="node" presStyleLbl="alignAccFollowNode1" presStyleIdx="12" presStyleCnt="25" custScaleX="119879" custScaleY="120096">
        <dgm:presLayoutVars>
          <dgm:bulletEnabled val="1"/>
        </dgm:presLayoutVars>
      </dgm:prSet>
      <dgm:spPr/>
      <dgm:t>
        <a:bodyPr/>
        <a:lstStyle/>
        <a:p>
          <a:endParaRPr lang="nl-NL"/>
        </a:p>
      </dgm:t>
    </dgm:pt>
    <dgm:pt modelId="{83242370-A8A0-49D9-8F01-B0DBCCE9E329}" type="pres">
      <dgm:prSet presAssocID="{18736C93-2A1D-4F22-8952-5A44ED9B99A1}" presName="sibTrans" presStyleCnt="0"/>
      <dgm:spPr/>
    </dgm:pt>
    <dgm:pt modelId="{9FA528D7-26AC-4E04-B14F-E0155359DB2B}" type="pres">
      <dgm:prSet presAssocID="{AA8DBEC3-5730-473F-B244-820415D3B97D}" presName="node" presStyleLbl="alignAccFollowNode1" presStyleIdx="13" presStyleCnt="25" custScaleX="119879" custScaleY="120096">
        <dgm:presLayoutVars>
          <dgm:bulletEnabled val="1"/>
        </dgm:presLayoutVars>
      </dgm:prSet>
      <dgm:spPr/>
      <dgm:t>
        <a:bodyPr/>
        <a:lstStyle/>
        <a:p>
          <a:endParaRPr lang="nl-NL"/>
        </a:p>
      </dgm:t>
    </dgm:pt>
    <dgm:pt modelId="{830719E3-B039-41C3-82E1-9E3518710380}" type="pres">
      <dgm:prSet presAssocID="{016D74AE-0885-463A-8830-0E4EE253A780}" presName="sibTrans" presStyleCnt="0"/>
      <dgm:spPr/>
    </dgm:pt>
    <dgm:pt modelId="{6E216FF8-2780-4ABE-969B-CDD8F6583DDC}" type="pres">
      <dgm:prSet presAssocID="{6CE1A86C-5E74-4ADB-95CE-83D1024B8A1B}" presName="node" presStyleLbl="alignAccFollowNode1" presStyleIdx="14" presStyleCnt="25" custScaleX="119879" custScaleY="120096">
        <dgm:presLayoutVars>
          <dgm:bulletEnabled val="1"/>
        </dgm:presLayoutVars>
      </dgm:prSet>
      <dgm:spPr/>
      <dgm:t>
        <a:bodyPr/>
        <a:lstStyle/>
        <a:p>
          <a:endParaRPr lang="nl-NL"/>
        </a:p>
      </dgm:t>
    </dgm:pt>
    <dgm:pt modelId="{8666EA12-234D-4CB4-8E75-0C81F718C0A9}" type="pres">
      <dgm:prSet presAssocID="{1D0431D3-64B3-4A2A-BC98-318609876B89}" presName="vSp" presStyleCnt="0"/>
      <dgm:spPr/>
    </dgm:pt>
    <dgm:pt modelId="{0D0AE263-B1EA-44DD-9FE2-9CAC606D6FC5}" type="pres">
      <dgm:prSet presAssocID="{23193460-2B00-4BBA-B2EF-55CC2B44251D}" presName="horFlow" presStyleCnt="0"/>
      <dgm:spPr/>
    </dgm:pt>
    <dgm:pt modelId="{01295B02-5629-4790-BB4D-A7650C590746}" type="pres">
      <dgm:prSet presAssocID="{23193460-2B00-4BBA-B2EF-55CC2B44251D}" presName="bigChev" presStyleLbl="node1" presStyleIdx="3" presStyleCnt="5" custScaleX="84206"/>
      <dgm:spPr/>
      <dgm:t>
        <a:bodyPr/>
        <a:lstStyle/>
        <a:p>
          <a:endParaRPr lang="nl-NL"/>
        </a:p>
      </dgm:t>
    </dgm:pt>
    <dgm:pt modelId="{A75BC414-AEA6-434B-B674-287E649E0B5D}" type="pres">
      <dgm:prSet presAssocID="{142C46B5-687D-479B-9E79-40DA7F5DEF44}" presName="parTrans" presStyleCnt="0"/>
      <dgm:spPr/>
    </dgm:pt>
    <dgm:pt modelId="{6EF753EC-17CD-46A6-81D5-6C737C6C4D8F}" type="pres">
      <dgm:prSet presAssocID="{1CEA679C-96CA-460E-AC4E-1582F3BE9109}" presName="node" presStyleLbl="alignAccFollowNode1" presStyleIdx="15" presStyleCnt="25" custScaleX="119879" custScaleY="120095">
        <dgm:presLayoutVars>
          <dgm:bulletEnabled val="1"/>
        </dgm:presLayoutVars>
      </dgm:prSet>
      <dgm:spPr/>
      <dgm:t>
        <a:bodyPr/>
        <a:lstStyle/>
        <a:p>
          <a:endParaRPr lang="nl-NL"/>
        </a:p>
      </dgm:t>
    </dgm:pt>
    <dgm:pt modelId="{F90259C5-94CE-4646-9BBB-9D77BAFCC246}" type="pres">
      <dgm:prSet presAssocID="{6F495585-C16D-46B3-BD6D-CD5560F9DB86}" presName="sibTrans" presStyleCnt="0"/>
      <dgm:spPr/>
    </dgm:pt>
    <dgm:pt modelId="{63D44174-705A-471D-8957-98F128C02313}" type="pres">
      <dgm:prSet presAssocID="{9A17E9D9-E8F2-4A3D-B3C2-0BF77FF6D42E}" presName="node" presStyleLbl="alignAccFollowNode1" presStyleIdx="16" presStyleCnt="25" custScaleX="119879" custScaleY="120096">
        <dgm:presLayoutVars>
          <dgm:bulletEnabled val="1"/>
        </dgm:presLayoutVars>
      </dgm:prSet>
      <dgm:spPr/>
      <dgm:t>
        <a:bodyPr/>
        <a:lstStyle/>
        <a:p>
          <a:endParaRPr lang="nl-NL"/>
        </a:p>
      </dgm:t>
    </dgm:pt>
    <dgm:pt modelId="{F97E5AF9-947E-4CC6-9073-F777788D2625}" type="pres">
      <dgm:prSet presAssocID="{E69B4927-D436-46DC-B02B-BBE2B2FB337F}" presName="sibTrans" presStyleCnt="0"/>
      <dgm:spPr/>
    </dgm:pt>
    <dgm:pt modelId="{A7989C51-1EF4-4500-81D6-6D719DDD68D0}" type="pres">
      <dgm:prSet presAssocID="{7EDDC5A2-9A6F-4101-B5CB-77EDED0EB09F}" presName="node" presStyleLbl="alignAccFollowNode1" presStyleIdx="17" presStyleCnt="25" custScaleX="119879" custScaleY="120096">
        <dgm:presLayoutVars>
          <dgm:bulletEnabled val="1"/>
        </dgm:presLayoutVars>
      </dgm:prSet>
      <dgm:spPr/>
      <dgm:t>
        <a:bodyPr/>
        <a:lstStyle/>
        <a:p>
          <a:endParaRPr lang="nl-NL"/>
        </a:p>
      </dgm:t>
    </dgm:pt>
    <dgm:pt modelId="{49AEC048-1AAE-4592-9445-E9DFA3B4AE30}" type="pres">
      <dgm:prSet presAssocID="{6F48EEA3-B2B6-4574-A8AF-5F75DE2E1693}" presName="sibTrans" presStyleCnt="0"/>
      <dgm:spPr/>
    </dgm:pt>
    <dgm:pt modelId="{A13861A0-3C4D-407A-AD33-595EDBF2F097}" type="pres">
      <dgm:prSet presAssocID="{66E39E7D-DC2E-4284-993D-AFD4E5E98986}" presName="node" presStyleLbl="alignAccFollowNode1" presStyleIdx="18" presStyleCnt="25" custScaleX="119879" custScaleY="120096">
        <dgm:presLayoutVars>
          <dgm:bulletEnabled val="1"/>
        </dgm:presLayoutVars>
      </dgm:prSet>
      <dgm:spPr/>
      <dgm:t>
        <a:bodyPr/>
        <a:lstStyle/>
        <a:p>
          <a:endParaRPr lang="nl-NL"/>
        </a:p>
      </dgm:t>
    </dgm:pt>
    <dgm:pt modelId="{4A81BF62-7FD5-4E20-9909-F9C72ED58289}" type="pres">
      <dgm:prSet presAssocID="{57835AF8-C1FC-4BCA-8913-7836892EA37D}" presName="sibTrans" presStyleCnt="0"/>
      <dgm:spPr/>
    </dgm:pt>
    <dgm:pt modelId="{0EE2C3EC-54D5-48DD-BB5E-1E84B5C6767E}" type="pres">
      <dgm:prSet presAssocID="{82B4419E-EA02-41F8-8851-D338BCF00BF0}" presName="node" presStyleLbl="alignAccFollowNode1" presStyleIdx="19" presStyleCnt="25" custScaleX="119879" custScaleY="120096" custLinFactNeighborX="34487">
        <dgm:presLayoutVars>
          <dgm:bulletEnabled val="1"/>
        </dgm:presLayoutVars>
      </dgm:prSet>
      <dgm:spPr/>
      <dgm:t>
        <a:bodyPr/>
        <a:lstStyle/>
        <a:p>
          <a:endParaRPr lang="nl-NL"/>
        </a:p>
      </dgm:t>
    </dgm:pt>
    <dgm:pt modelId="{DCF6DC2F-5145-4A69-9352-14B4B105CEA7}" type="pres">
      <dgm:prSet presAssocID="{23193460-2B00-4BBA-B2EF-55CC2B44251D}" presName="vSp" presStyleCnt="0"/>
      <dgm:spPr/>
    </dgm:pt>
    <dgm:pt modelId="{B96505B2-8244-4CEC-B020-828904E4E906}" type="pres">
      <dgm:prSet presAssocID="{77057A3B-3645-4900-95DC-090CD2DB9683}" presName="horFlow" presStyleCnt="0"/>
      <dgm:spPr/>
    </dgm:pt>
    <dgm:pt modelId="{369C16FF-CB50-4D98-9172-0EA7B2F7C0E9}" type="pres">
      <dgm:prSet presAssocID="{77057A3B-3645-4900-95DC-090CD2DB9683}" presName="bigChev" presStyleLbl="node1" presStyleIdx="4" presStyleCnt="5" custScaleX="84206"/>
      <dgm:spPr/>
      <dgm:t>
        <a:bodyPr/>
        <a:lstStyle/>
        <a:p>
          <a:endParaRPr lang="nl-NL"/>
        </a:p>
      </dgm:t>
    </dgm:pt>
    <dgm:pt modelId="{C7EE0844-4E45-4E96-9DFA-0A8C0F2C9AA6}" type="pres">
      <dgm:prSet presAssocID="{3740C790-FB91-4EEF-9193-83BDD7896895}" presName="parTrans" presStyleCnt="0"/>
      <dgm:spPr/>
    </dgm:pt>
    <dgm:pt modelId="{F9B40E24-8054-4554-8AF6-D6B681E13EA0}" type="pres">
      <dgm:prSet presAssocID="{27A89387-7B3B-4188-A28B-6E38537CFD19}" presName="node" presStyleLbl="alignAccFollowNode1" presStyleIdx="20" presStyleCnt="25" custScaleX="119879" custScaleY="120095">
        <dgm:presLayoutVars>
          <dgm:bulletEnabled val="1"/>
        </dgm:presLayoutVars>
      </dgm:prSet>
      <dgm:spPr/>
      <dgm:t>
        <a:bodyPr/>
        <a:lstStyle/>
        <a:p>
          <a:endParaRPr lang="nl-NL"/>
        </a:p>
      </dgm:t>
    </dgm:pt>
    <dgm:pt modelId="{C5B67E5E-B363-42E2-80C1-79C2B5650A3A}" type="pres">
      <dgm:prSet presAssocID="{FCD6D5E8-E559-4B35-8AD2-0764F3E4CB3B}" presName="sibTrans" presStyleCnt="0"/>
      <dgm:spPr/>
    </dgm:pt>
    <dgm:pt modelId="{F7823181-D95C-4548-8D31-3B61A998A8F3}" type="pres">
      <dgm:prSet presAssocID="{6292E6EC-41DE-43DC-8EBD-D60A29E30E3A}" presName="node" presStyleLbl="alignAccFollowNode1" presStyleIdx="21" presStyleCnt="25" custScaleX="119879" custScaleY="120096">
        <dgm:presLayoutVars>
          <dgm:bulletEnabled val="1"/>
        </dgm:presLayoutVars>
      </dgm:prSet>
      <dgm:spPr/>
      <dgm:t>
        <a:bodyPr/>
        <a:lstStyle/>
        <a:p>
          <a:endParaRPr lang="nl-NL"/>
        </a:p>
      </dgm:t>
    </dgm:pt>
    <dgm:pt modelId="{AC437654-8085-4057-89E9-126A4BC75DAF}" type="pres">
      <dgm:prSet presAssocID="{4E923F6B-0FC9-4D73-B3A0-BF03729328D8}" presName="sibTrans" presStyleCnt="0"/>
      <dgm:spPr/>
    </dgm:pt>
    <dgm:pt modelId="{54E5B12B-5A5F-4DFD-A255-6C8C32526395}" type="pres">
      <dgm:prSet presAssocID="{C869D024-6F94-4126-B283-6DC434C89154}" presName="node" presStyleLbl="alignAccFollowNode1" presStyleIdx="22" presStyleCnt="25" custScaleX="119879" custScaleY="120096">
        <dgm:presLayoutVars>
          <dgm:bulletEnabled val="1"/>
        </dgm:presLayoutVars>
      </dgm:prSet>
      <dgm:spPr/>
      <dgm:t>
        <a:bodyPr/>
        <a:lstStyle/>
        <a:p>
          <a:endParaRPr lang="nl-NL"/>
        </a:p>
      </dgm:t>
    </dgm:pt>
    <dgm:pt modelId="{DE0F41F1-1B55-44E1-9D5A-189E52E87322}" type="pres">
      <dgm:prSet presAssocID="{16ACF173-BA7E-4685-843F-5588E59D116A}" presName="sibTrans" presStyleCnt="0"/>
      <dgm:spPr/>
    </dgm:pt>
    <dgm:pt modelId="{9D541BD9-D6A2-43C7-B91C-2D697E81376F}" type="pres">
      <dgm:prSet presAssocID="{62D61A53-2D9E-484A-A2DF-FA5F8026FDCE}" presName="node" presStyleLbl="alignAccFollowNode1" presStyleIdx="23" presStyleCnt="25" custScaleX="119879" custScaleY="120096">
        <dgm:presLayoutVars>
          <dgm:bulletEnabled val="1"/>
        </dgm:presLayoutVars>
      </dgm:prSet>
      <dgm:spPr/>
      <dgm:t>
        <a:bodyPr/>
        <a:lstStyle/>
        <a:p>
          <a:endParaRPr lang="nl-NL"/>
        </a:p>
      </dgm:t>
    </dgm:pt>
    <dgm:pt modelId="{603039C6-CA7A-4BF0-B9C3-E55981299194}" type="pres">
      <dgm:prSet presAssocID="{0741CA5F-C53B-4587-A516-C633F65D31E4}" presName="sibTrans" presStyleCnt="0"/>
      <dgm:spPr/>
    </dgm:pt>
    <dgm:pt modelId="{267F98CF-3B0B-4374-BA95-4747FC32EBB6}" type="pres">
      <dgm:prSet presAssocID="{8835A891-43B3-4F45-A35D-0FEC54C4FA75}" presName="node" presStyleLbl="alignAccFollowNode1" presStyleIdx="24" presStyleCnt="25" custScaleX="119879" custScaleY="120096">
        <dgm:presLayoutVars>
          <dgm:bulletEnabled val="1"/>
        </dgm:presLayoutVars>
      </dgm:prSet>
      <dgm:spPr/>
      <dgm:t>
        <a:bodyPr/>
        <a:lstStyle/>
        <a:p>
          <a:endParaRPr lang="nl-NL"/>
        </a:p>
      </dgm:t>
    </dgm:pt>
  </dgm:ptLst>
  <dgm:cxnLst>
    <dgm:cxn modelId="{5C8C9688-845D-407B-8262-856083BB8B02}" srcId="{22C9BA16-C912-4AB8-B16E-FF797935FE95}" destId="{746BBA83-FC51-4B44-8C3D-F93ACED5A830}" srcOrd="3" destOrd="0" parTransId="{43D31E03-9F7F-4CDB-BA1E-5B60E76E75A0}" sibTransId="{645A86AD-7CFE-406C-A490-80E89BBD3A4A}"/>
    <dgm:cxn modelId="{7CE56B18-CF79-43BF-AA17-4A5CA53C6967}" srcId="{77057A3B-3645-4900-95DC-090CD2DB9683}" destId="{C869D024-6F94-4126-B283-6DC434C89154}" srcOrd="2" destOrd="0" parTransId="{065D051E-7E8B-4B3A-8F40-D8B67EEB97E8}" sibTransId="{16ACF173-BA7E-4685-843F-5588E59D116A}"/>
    <dgm:cxn modelId="{1E19AF31-A63C-4F46-B482-F715C1BB40D5}" srcId="{23193460-2B00-4BBA-B2EF-55CC2B44251D}" destId="{82B4419E-EA02-41F8-8851-D338BCF00BF0}" srcOrd="4" destOrd="0" parTransId="{7A7B7C56-B4C7-4671-B013-0CA3A660B3FD}" sibTransId="{90965BCE-1684-471D-AE9E-22ADC4D55E40}"/>
    <dgm:cxn modelId="{C244C082-4F01-4C68-ACB6-0E8FA3198B3E}" srcId="{A4C25754-AF2E-445A-B1C4-208C361E3027}" destId="{22C9BA16-C912-4AB8-B16E-FF797935FE95}" srcOrd="1" destOrd="0" parTransId="{93B98DF1-7871-4E1C-BCA9-B7D1E46536EC}" sibTransId="{92090AD9-6C79-48EC-9401-F0B181673841}"/>
    <dgm:cxn modelId="{BC9DE52F-0BB5-4ACB-9274-779AEBE21803}" srcId="{22C9BA16-C912-4AB8-B16E-FF797935FE95}" destId="{1C057D00-7046-4C92-8845-E659397CD6FE}" srcOrd="1" destOrd="0" parTransId="{5CCF2DFA-AA14-4223-93C4-29A2BEE342FE}" sibTransId="{9F92A93D-431C-4D58-AC15-E971BD7417E8}"/>
    <dgm:cxn modelId="{3BB2DC6F-AEAE-401D-A71C-27E6D32EC4FB}" srcId="{1D0431D3-64B3-4A2A-BC98-318609876B89}" destId="{C0C666D5-C6AE-48A4-8BEB-1E0B4423CC7F}" srcOrd="0" destOrd="0" parTransId="{7BCAD824-9F6C-4E51-8307-99177976A87F}" sibTransId="{DEFB9FE7-85F7-46CA-BCD3-991BFEB6948F}"/>
    <dgm:cxn modelId="{5B51B856-66F6-41DE-82D6-D9DAD4791020}" type="presOf" srcId="{66E39E7D-DC2E-4284-993D-AFD4E5E98986}" destId="{A13861A0-3C4D-407A-AD33-595EDBF2F097}" srcOrd="0" destOrd="0" presId="urn:microsoft.com/office/officeart/2005/8/layout/lProcess3"/>
    <dgm:cxn modelId="{9B937BAE-08F9-42AE-AC98-6AD3DC9FA8CB}" srcId="{A4C25754-AF2E-445A-B1C4-208C361E3027}" destId="{23193460-2B00-4BBA-B2EF-55CC2B44251D}" srcOrd="3" destOrd="0" parTransId="{9039EAD3-CDDB-4CC8-A3AF-7A425DFF7FAF}" sibTransId="{B40E2452-A66F-4500-9BFD-26EFE8F1C46C}"/>
    <dgm:cxn modelId="{C94B2CA1-3476-4E29-8D69-CB27642C1C34}" type="presOf" srcId="{23193460-2B00-4BBA-B2EF-55CC2B44251D}" destId="{01295B02-5629-4790-BB4D-A7650C590746}" srcOrd="0" destOrd="0" presId="urn:microsoft.com/office/officeart/2005/8/layout/lProcess3"/>
    <dgm:cxn modelId="{C12D5F15-CE74-4E56-ADAA-04E1C0542A81}" type="presOf" srcId="{1F00858C-756E-438F-ACFC-655C02058CEA}" destId="{6F58A52D-AFF9-49F5-8538-1AB9A54C1571}" srcOrd="0" destOrd="0" presId="urn:microsoft.com/office/officeart/2005/8/layout/lProcess3"/>
    <dgm:cxn modelId="{404349EA-FCFB-4F3A-A6D3-4DA211175043}" type="presOf" srcId="{4E20D29C-B6C9-440B-AFF3-AEF13A3A4C36}" destId="{0147A711-EAE7-444C-88B2-0E0CB88E6274}" srcOrd="0" destOrd="0" presId="urn:microsoft.com/office/officeart/2005/8/layout/lProcess3"/>
    <dgm:cxn modelId="{24EA6616-E004-4366-BB51-E4E8F832CBD5}" type="presOf" srcId="{27A89387-7B3B-4188-A28B-6E38537CFD19}" destId="{F9B40E24-8054-4554-8AF6-D6B681E13EA0}" srcOrd="0" destOrd="0" presId="urn:microsoft.com/office/officeart/2005/8/layout/lProcess3"/>
    <dgm:cxn modelId="{79901D87-BDE8-49B6-93DD-626CC97FAEC0}" type="presOf" srcId="{62D61A53-2D9E-484A-A2DF-FA5F8026FDCE}" destId="{9D541BD9-D6A2-43C7-B91C-2D697E81376F}" srcOrd="0" destOrd="0" presId="urn:microsoft.com/office/officeart/2005/8/layout/lProcess3"/>
    <dgm:cxn modelId="{1116DFBC-7D5F-4A2B-BE9E-6A035578413B}" type="presOf" srcId="{151429BB-703C-4837-AEAE-FB6E3DE6D505}" destId="{87B307EE-F7E3-478C-99DF-363D7920F82C}" srcOrd="0" destOrd="0" presId="urn:microsoft.com/office/officeart/2005/8/layout/lProcess3"/>
    <dgm:cxn modelId="{8F30F11D-E87C-429F-A3B7-14360FA410AD}" srcId="{22C9BA16-C912-4AB8-B16E-FF797935FE95}" destId="{151429BB-703C-4837-AEAE-FB6E3DE6D505}" srcOrd="2" destOrd="0" parTransId="{CE2A0741-45C2-4BEA-BD64-023BC7622332}" sibTransId="{31B627E5-D5DC-4932-8CC6-E7930B6676D9}"/>
    <dgm:cxn modelId="{F01DEC03-BFD0-4AD0-83CB-AFBAB645346A}" type="presOf" srcId="{6292E6EC-41DE-43DC-8EBD-D60A29E30E3A}" destId="{F7823181-D95C-4548-8D31-3B61A998A8F3}" srcOrd="0" destOrd="0" presId="urn:microsoft.com/office/officeart/2005/8/layout/lProcess3"/>
    <dgm:cxn modelId="{A19ED3F0-D3F5-4544-A864-F0CB4CCF69B9}" srcId="{1D0431D3-64B3-4A2A-BC98-318609876B89}" destId="{AA8DBEC3-5730-473F-B244-820415D3B97D}" srcOrd="3" destOrd="0" parTransId="{FF21C5BA-C31C-4EE9-8435-9F3E74196BB2}" sibTransId="{016D74AE-0885-463A-8830-0E4EE253A780}"/>
    <dgm:cxn modelId="{7B088858-B74C-43E2-9BE5-068D5D9E1AEB}" srcId="{23193460-2B00-4BBA-B2EF-55CC2B44251D}" destId="{66E39E7D-DC2E-4284-993D-AFD4E5E98986}" srcOrd="3" destOrd="0" parTransId="{D2917CAC-F82A-46EF-A20B-2F4A2F94E9FF}" sibTransId="{57835AF8-C1FC-4BCA-8913-7836892EA37D}"/>
    <dgm:cxn modelId="{20329975-211D-4A3A-8C0F-DD54C84AD3BD}" srcId="{1D0431D3-64B3-4A2A-BC98-318609876B89}" destId="{4E20D29C-B6C9-440B-AFF3-AEF13A3A4C36}" srcOrd="2" destOrd="0" parTransId="{0AC3526D-14AD-4864-BC54-CA2EC525943F}" sibTransId="{18736C93-2A1D-4F22-8952-5A44ED9B99A1}"/>
    <dgm:cxn modelId="{03C42A38-BDB9-4D6B-A478-6FFCEEADCCBC}" srcId="{1D0431D3-64B3-4A2A-BC98-318609876B89}" destId="{1DD1AC1D-B569-457A-ABD8-ECBDB05C5B6B}" srcOrd="1" destOrd="0" parTransId="{E1011E1B-B118-4875-B78A-2BFFE230438F}" sibTransId="{B22F1A8F-FD9D-4176-86A1-F295A23BFA9F}"/>
    <dgm:cxn modelId="{5361ADCC-84BD-4993-85CF-74B06F5D06D1}" type="presOf" srcId="{22C9BA16-C912-4AB8-B16E-FF797935FE95}" destId="{45A1425D-2946-43E1-B1EC-77043B192449}" srcOrd="0" destOrd="0" presId="urn:microsoft.com/office/officeart/2005/8/layout/lProcess3"/>
    <dgm:cxn modelId="{07F00F9A-25EB-48AC-9AB9-F7A1B8DE7412}" type="presOf" srcId="{746BBA83-FC51-4B44-8C3D-F93ACED5A830}" destId="{CED8139D-1618-489C-91A6-6B435D2A051E}" srcOrd="0" destOrd="0" presId="urn:microsoft.com/office/officeart/2005/8/layout/lProcess3"/>
    <dgm:cxn modelId="{3404E993-9AF5-4AC8-A850-E56B79A05D44}" type="presOf" srcId="{1CEA679C-96CA-460E-AC4E-1582F3BE9109}" destId="{6EF753EC-17CD-46A6-81D5-6C737C6C4D8F}" srcOrd="0" destOrd="0" presId="urn:microsoft.com/office/officeart/2005/8/layout/lProcess3"/>
    <dgm:cxn modelId="{988CBE00-9744-4A6E-8BD8-86272E3F764E}" type="presOf" srcId="{1D0431D3-64B3-4A2A-BC98-318609876B89}" destId="{AC514612-8832-4B0F-86D0-3200CCE54AE0}" srcOrd="0" destOrd="0" presId="urn:microsoft.com/office/officeart/2005/8/layout/lProcess3"/>
    <dgm:cxn modelId="{41A7473E-0FAD-4341-A72C-25CA87F1ADE8}" srcId="{647DD7A5-0012-436B-BAB9-BDE52DC25B90}" destId="{0EEE7DE5-2B00-458B-BCAB-CB504BAD12E7}" srcOrd="2" destOrd="0" parTransId="{BE541403-E310-4737-9C4F-EFF537A3BC21}" sibTransId="{9F4A5B04-0051-4F5D-9849-79FF15B78EF0}"/>
    <dgm:cxn modelId="{33F43A8A-3CC8-4334-8714-CB475542533B}" type="presOf" srcId="{6CE1A86C-5E74-4ADB-95CE-83D1024B8A1B}" destId="{6E216FF8-2780-4ABE-969B-CDD8F6583DDC}" srcOrd="0" destOrd="0" presId="urn:microsoft.com/office/officeart/2005/8/layout/lProcess3"/>
    <dgm:cxn modelId="{F875A6EA-D09C-4FBB-A92C-73C0BA23DBA0}" type="presOf" srcId="{20446483-3131-45C6-9B63-8672E75978B6}" destId="{76A59E32-1369-43F3-BA20-12EAEE339E49}" srcOrd="0" destOrd="0" presId="urn:microsoft.com/office/officeart/2005/8/layout/lProcess3"/>
    <dgm:cxn modelId="{7BFCD170-6D7A-4815-B43E-FC0D2CF65DDA}" srcId="{23193460-2B00-4BBA-B2EF-55CC2B44251D}" destId="{9A17E9D9-E8F2-4A3D-B3C2-0BF77FF6D42E}" srcOrd="1" destOrd="0" parTransId="{1E3B8620-2598-4AD1-B142-4BF992FCC7D5}" sibTransId="{E69B4927-D436-46DC-B02B-BBE2B2FB337F}"/>
    <dgm:cxn modelId="{FD555119-81B7-423C-9055-58EC56CBFE23}" type="presOf" srcId="{9A17E9D9-E8F2-4A3D-B3C2-0BF77FF6D42E}" destId="{63D44174-705A-471D-8957-98F128C02313}" srcOrd="0" destOrd="0" presId="urn:microsoft.com/office/officeart/2005/8/layout/lProcess3"/>
    <dgm:cxn modelId="{07B7B9FE-65A9-44AC-B2BC-1638D12F3448}" srcId="{77057A3B-3645-4900-95DC-090CD2DB9683}" destId="{8835A891-43B3-4F45-A35D-0FEC54C4FA75}" srcOrd="4" destOrd="0" parTransId="{6E2213D1-0573-4675-98DA-0076CF75465F}" sibTransId="{6558BD01-4C77-4722-AF95-E83635287790}"/>
    <dgm:cxn modelId="{2A2E27CB-E7B7-4EBC-BE45-1A0413F68694}" type="presOf" srcId="{0EEE7DE5-2B00-458B-BCAB-CB504BAD12E7}" destId="{7BCA09AF-73D2-4619-A7A7-F58A620080A0}" srcOrd="0" destOrd="0" presId="urn:microsoft.com/office/officeart/2005/8/layout/lProcess3"/>
    <dgm:cxn modelId="{FF888F5F-DB76-4362-9E36-8483708879BB}" srcId="{23193460-2B00-4BBA-B2EF-55CC2B44251D}" destId="{1CEA679C-96CA-460E-AC4E-1582F3BE9109}" srcOrd="0" destOrd="0" parTransId="{142C46B5-687D-479B-9E79-40DA7F5DEF44}" sibTransId="{6F495585-C16D-46B3-BD6D-CD5560F9DB86}"/>
    <dgm:cxn modelId="{514C613D-60A0-4643-BBC0-BE8471FD5547}" type="presOf" srcId="{A4C25754-AF2E-445A-B1C4-208C361E3027}" destId="{1DE78E1A-287A-4644-911E-2C3E7FDD395B}" srcOrd="0" destOrd="0" presId="urn:microsoft.com/office/officeart/2005/8/layout/lProcess3"/>
    <dgm:cxn modelId="{51AB0B94-82E4-43E9-8949-985CC568556A}" type="presOf" srcId="{C0C666D5-C6AE-48A4-8BEB-1E0B4423CC7F}" destId="{F6BDEFCB-7EF5-4C67-9CC3-C8A5F8837BEC}" srcOrd="0" destOrd="0" presId="urn:microsoft.com/office/officeart/2005/8/layout/lProcess3"/>
    <dgm:cxn modelId="{3F8CF7C8-6210-42A5-8DA3-FA0302C8434A}" srcId="{A4C25754-AF2E-445A-B1C4-208C361E3027}" destId="{647DD7A5-0012-436B-BAB9-BDE52DC25B90}" srcOrd="0" destOrd="0" parTransId="{3AB16B59-D0CB-483E-BCBC-D5B2E737CB7D}" sibTransId="{706A9391-DCC8-4EEB-A18D-BE55B315846C}"/>
    <dgm:cxn modelId="{80260B3B-B79C-46B4-97AA-A804C2A3920E}" srcId="{647DD7A5-0012-436B-BAB9-BDE52DC25B90}" destId="{545954EC-4953-467F-8E27-933BAB5A8E05}" srcOrd="1" destOrd="0" parTransId="{E031E22B-55B8-4FED-A7B2-47054E3D78C2}" sibTransId="{3195B29B-0B9A-47B3-B2F4-4FDC8876F8E7}"/>
    <dgm:cxn modelId="{96666247-BF4C-4E6F-B6E5-3928BD906983}" type="presOf" srcId="{77057A3B-3645-4900-95DC-090CD2DB9683}" destId="{369C16FF-CB50-4D98-9172-0EA7B2F7C0E9}" srcOrd="0" destOrd="0" presId="urn:microsoft.com/office/officeart/2005/8/layout/lProcess3"/>
    <dgm:cxn modelId="{1F843F8A-097C-4D1E-8BE9-55D51C74877D}" srcId="{A4C25754-AF2E-445A-B1C4-208C361E3027}" destId="{77057A3B-3645-4900-95DC-090CD2DB9683}" srcOrd="4" destOrd="0" parTransId="{0EC6A81B-C8FD-4EEF-8570-8C98DBB1A73C}" sibTransId="{7A3E30EB-3E1C-4BF9-8CCF-CAA3571ACFB7}"/>
    <dgm:cxn modelId="{20E0196F-EDD9-474A-9FAF-DF8543639C6C}" srcId="{1D0431D3-64B3-4A2A-BC98-318609876B89}" destId="{6CE1A86C-5E74-4ADB-95CE-83D1024B8A1B}" srcOrd="4" destOrd="0" parTransId="{E68E1A5A-6E88-458A-8CB9-F2B234C35568}" sibTransId="{CCAC4F14-E3B3-4CA3-9BF7-C73D5E00EE32}"/>
    <dgm:cxn modelId="{D65ABC08-8E9F-48FB-9C91-F5256B3DDC67}" srcId="{647DD7A5-0012-436B-BAB9-BDE52DC25B90}" destId="{6D8F2393-DBD3-466D-BB9D-AE10062D1E45}" srcOrd="0" destOrd="0" parTransId="{583416F9-FBC6-4C82-8614-951CEE12CD70}" sibTransId="{03DE5228-1E63-4C54-9AE4-3B883B2F1DBA}"/>
    <dgm:cxn modelId="{ED905CA8-78C4-4B26-B4F3-FBE3111ED1C6}" srcId="{22C9BA16-C912-4AB8-B16E-FF797935FE95}" destId="{17FA8828-52A2-4AF5-B391-AB85135831D1}" srcOrd="0" destOrd="0" parTransId="{7C76C83D-CE5B-4D7C-AD83-B4E39CEEF00A}" sibTransId="{5831FBD0-5DF6-4737-9D40-31BD670C5784}"/>
    <dgm:cxn modelId="{20AAE980-8092-4326-A197-C1C565AB19AA}" type="presOf" srcId="{17FA8828-52A2-4AF5-B391-AB85135831D1}" destId="{050DB05E-783F-4CCF-9747-F95A7E32D478}" srcOrd="0" destOrd="0" presId="urn:microsoft.com/office/officeart/2005/8/layout/lProcess3"/>
    <dgm:cxn modelId="{EC06577F-9572-4923-825E-652125A51976}" type="presOf" srcId="{1DD1AC1D-B569-457A-ABD8-ECBDB05C5B6B}" destId="{58186B43-07B2-485C-BAFC-A38A2D2CA252}" srcOrd="0" destOrd="0" presId="urn:microsoft.com/office/officeart/2005/8/layout/lProcess3"/>
    <dgm:cxn modelId="{CA0D4426-5DC5-4E15-8CD4-69B9B9213E44}" srcId="{A4C25754-AF2E-445A-B1C4-208C361E3027}" destId="{1D0431D3-64B3-4A2A-BC98-318609876B89}" srcOrd="2" destOrd="0" parTransId="{8F056A3C-46EE-4105-96AC-805B07284C64}" sibTransId="{8B27C768-6F47-4415-9EAC-93F37110362D}"/>
    <dgm:cxn modelId="{51E55581-CECD-4AF7-BC46-2293C2202678}" type="presOf" srcId="{AA8DBEC3-5730-473F-B244-820415D3B97D}" destId="{9FA528D7-26AC-4E04-B14F-E0155359DB2B}" srcOrd="0" destOrd="0" presId="urn:microsoft.com/office/officeart/2005/8/layout/lProcess3"/>
    <dgm:cxn modelId="{671CB356-F728-45FA-9613-8893B0EB7710}" type="presOf" srcId="{1C057D00-7046-4C92-8845-E659397CD6FE}" destId="{EE523708-1E1B-4AAA-A918-8F0DB46124F9}" srcOrd="0" destOrd="0" presId="urn:microsoft.com/office/officeart/2005/8/layout/lProcess3"/>
    <dgm:cxn modelId="{2E6CD061-5211-49EC-9292-53AC3A9AD1E4}" srcId="{647DD7A5-0012-436B-BAB9-BDE52DC25B90}" destId="{2B87F55F-3DDA-4DB8-85DC-69C630658C4A}" srcOrd="4" destOrd="0" parTransId="{E458CF27-D025-4F7B-B018-63E3837B169F}" sibTransId="{DE6A453F-2629-4B65-903F-D41D3D5F3A92}"/>
    <dgm:cxn modelId="{6AC51181-18CA-4071-8671-E723CB2F83E3}" srcId="{22C9BA16-C912-4AB8-B16E-FF797935FE95}" destId="{20446483-3131-45C6-9B63-8672E75978B6}" srcOrd="4" destOrd="0" parTransId="{C592FC82-2CCB-41D1-AB19-C1027B3220DC}" sibTransId="{744972D6-F7F9-4325-9F4B-A70060987F27}"/>
    <dgm:cxn modelId="{40D9CC99-76AD-4E8E-A1AC-7A60971EB6FF}" srcId="{77057A3B-3645-4900-95DC-090CD2DB9683}" destId="{62D61A53-2D9E-484A-A2DF-FA5F8026FDCE}" srcOrd="3" destOrd="0" parTransId="{378F7EAA-89FC-40D8-A78F-65E528C91DC0}" sibTransId="{0741CA5F-C53B-4587-A516-C633F65D31E4}"/>
    <dgm:cxn modelId="{9AEC6FC0-CD11-49B0-9940-4D10A3FE7DFB}" type="presOf" srcId="{7EDDC5A2-9A6F-4101-B5CB-77EDED0EB09F}" destId="{A7989C51-1EF4-4500-81D6-6D719DDD68D0}" srcOrd="0" destOrd="0" presId="urn:microsoft.com/office/officeart/2005/8/layout/lProcess3"/>
    <dgm:cxn modelId="{B35D16C5-CE97-4817-8DCB-A32915EBD9A3}" srcId="{77057A3B-3645-4900-95DC-090CD2DB9683}" destId="{6292E6EC-41DE-43DC-8EBD-D60A29E30E3A}" srcOrd="1" destOrd="0" parTransId="{0E4480AF-2094-4189-98C1-03DE33A39523}" sibTransId="{4E923F6B-0FC9-4D73-B3A0-BF03729328D8}"/>
    <dgm:cxn modelId="{52100F12-BE81-40CD-A68F-E3FA558C44E7}" type="presOf" srcId="{82B4419E-EA02-41F8-8851-D338BCF00BF0}" destId="{0EE2C3EC-54D5-48DD-BB5E-1E84B5C6767E}" srcOrd="0" destOrd="0" presId="urn:microsoft.com/office/officeart/2005/8/layout/lProcess3"/>
    <dgm:cxn modelId="{1229EF09-38DE-4DBC-A8DA-8DE3EE5592E3}" type="presOf" srcId="{6D8F2393-DBD3-466D-BB9D-AE10062D1E45}" destId="{9E6C8AC0-5D21-43F3-83C4-CC1B7203E690}" srcOrd="0" destOrd="0" presId="urn:microsoft.com/office/officeart/2005/8/layout/lProcess3"/>
    <dgm:cxn modelId="{513E01FD-B6A1-47A4-BA13-6B2B22AF080B}" type="presOf" srcId="{C869D024-6F94-4126-B283-6DC434C89154}" destId="{54E5B12B-5A5F-4DFD-A255-6C8C32526395}" srcOrd="0" destOrd="0" presId="urn:microsoft.com/office/officeart/2005/8/layout/lProcess3"/>
    <dgm:cxn modelId="{3C475407-F480-4626-964A-7BA9A53E8463}" srcId="{23193460-2B00-4BBA-B2EF-55CC2B44251D}" destId="{7EDDC5A2-9A6F-4101-B5CB-77EDED0EB09F}" srcOrd="2" destOrd="0" parTransId="{994A2668-1209-4FF4-84C6-EBEFEE5719F7}" sibTransId="{6F48EEA3-B2B6-4574-A8AF-5F75DE2E1693}"/>
    <dgm:cxn modelId="{A06ED7D0-5EC6-4BB4-ABCA-D6158815A588}" type="presOf" srcId="{8835A891-43B3-4F45-A35D-0FEC54C4FA75}" destId="{267F98CF-3B0B-4374-BA95-4747FC32EBB6}" srcOrd="0" destOrd="0" presId="urn:microsoft.com/office/officeart/2005/8/layout/lProcess3"/>
    <dgm:cxn modelId="{0425F08E-D745-4524-BEC2-07ED372F5441}" type="presOf" srcId="{2B87F55F-3DDA-4DB8-85DC-69C630658C4A}" destId="{9DA68F1C-8A13-4764-9EED-8C5C1AC113E6}" srcOrd="0" destOrd="0" presId="urn:microsoft.com/office/officeart/2005/8/layout/lProcess3"/>
    <dgm:cxn modelId="{0123C213-567B-4983-9A19-D21B7B88431D}" type="presOf" srcId="{545954EC-4953-467F-8E27-933BAB5A8E05}" destId="{5F155100-7715-4A17-90EE-690DB2345E60}" srcOrd="0" destOrd="0" presId="urn:microsoft.com/office/officeart/2005/8/layout/lProcess3"/>
    <dgm:cxn modelId="{17F6472B-5BE6-4D2E-9D5C-06CFDFAC0AA4}" type="presOf" srcId="{647DD7A5-0012-436B-BAB9-BDE52DC25B90}" destId="{F6E04653-AC57-46CE-A503-3CBBAD1D7D39}" srcOrd="0" destOrd="0" presId="urn:microsoft.com/office/officeart/2005/8/layout/lProcess3"/>
    <dgm:cxn modelId="{C355C560-CE03-445B-A62A-70AC2F8C5F66}" srcId="{647DD7A5-0012-436B-BAB9-BDE52DC25B90}" destId="{1F00858C-756E-438F-ACFC-655C02058CEA}" srcOrd="3" destOrd="0" parTransId="{3C5879BC-6281-4669-8BEF-2E0C6AD6F405}" sibTransId="{E87351C3-C3F4-4BF9-BC9D-FD82FB04DFC6}"/>
    <dgm:cxn modelId="{0F2B4D9A-D250-4509-8C2D-04C9963529A6}" srcId="{77057A3B-3645-4900-95DC-090CD2DB9683}" destId="{27A89387-7B3B-4188-A28B-6E38537CFD19}" srcOrd="0" destOrd="0" parTransId="{3740C790-FB91-4EEF-9193-83BDD7896895}" sibTransId="{FCD6D5E8-E559-4B35-8AD2-0764F3E4CB3B}"/>
    <dgm:cxn modelId="{03DFE1E2-F88B-4EEB-A772-5D88591C3F04}" type="presParOf" srcId="{1DE78E1A-287A-4644-911E-2C3E7FDD395B}" destId="{1A84AAE2-0808-451B-B00F-51978064A56A}" srcOrd="0" destOrd="0" presId="urn:microsoft.com/office/officeart/2005/8/layout/lProcess3"/>
    <dgm:cxn modelId="{86D7E632-AAFC-48EB-8068-6819A505285C}" type="presParOf" srcId="{1A84AAE2-0808-451B-B00F-51978064A56A}" destId="{F6E04653-AC57-46CE-A503-3CBBAD1D7D39}" srcOrd="0" destOrd="0" presId="urn:microsoft.com/office/officeart/2005/8/layout/lProcess3"/>
    <dgm:cxn modelId="{B9195C12-F1FA-4333-A756-11F46AF9462E}" type="presParOf" srcId="{1A84AAE2-0808-451B-B00F-51978064A56A}" destId="{2FD405EF-9A12-4113-837F-4235A9C8BCDF}" srcOrd="1" destOrd="0" presId="urn:microsoft.com/office/officeart/2005/8/layout/lProcess3"/>
    <dgm:cxn modelId="{873A17B3-8164-4966-9FE4-8F31D8D3400D}" type="presParOf" srcId="{1A84AAE2-0808-451B-B00F-51978064A56A}" destId="{9E6C8AC0-5D21-43F3-83C4-CC1B7203E690}" srcOrd="2" destOrd="0" presId="urn:microsoft.com/office/officeart/2005/8/layout/lProcess3"/>
    <dgm:cxn modelId="{E2D5FEEB-7454-46B1-8B26-5D089326A5EB}" type="presParOf" srcId="{1A84AAE2-0808-451B-B00F-51978064A56A}" destId="{12437B27-DC93-4BD7-BC2C-B48051EB2B27}" srcOrd="3" destOrd="0" presId="urn:microsoft.com/office/officeart/2005/8/layout/lProcess3"/>
    <dgm:cxn modelId="{36A65702-D9EB-4058-A5E1-C37ADE9DA79E}" type="presParOf" srcId="{1A84AAE2-0808-451B-B00F-51978064A56A}" destId="{5F155100-7715-4A17-90EE-690DB2345E60}" srcOrd="4" destOrd="0" presId="urn:microsoft.com/office/officeart/2005/8/layout/lProcess3"/>
    <dgm:cxn modelId="{272B8057-6A0B-4D91-9B6A-D8A4771593BC}" type="presParOf" srcId="{1A84AAE2-0808-451B-B00F-51978064A56A}" destId="{556E6604-75C8-47B9-8F4D-7B0C112FFCB2}" srcOrd="5" destOrd="0" presId="urn:microsoft.com/office/officeart/2005/8/layout/lProcess3"/>
    <dgm:cxn modelId="{C0704F78-2389-467F-A25B-807B3274C5B5}" type="presParOf" srcId="{1A84AAE2-0808-451B-B00F-51978064A56A}" destId="{7BCA09AF-73D2-4619-A7A7-F58A620080A0}" srcOrd="6" destOrd="0" presId="urn:microsoft.com/office/officeart/2005/8/layout/lProcess3"/>
    <dgm:cxn modelId="{A3703474-2FCD-4696-80A9-199EB8AB4DA3}" type="presParOf" srcId="{1A84AAE2-0808-451B-B00F-51978064A56A}" destId="{6993564F-6DB6-4935-B3A0-CE9427733D38}" srcOrd="7" destOrd="0" presId="urn:microsoft.com/office/officeart/2005/8/layout/lProcess3"/>
    <dgm:cxn modelId="{E72A4589-23AF-4F18-BF76-B4DE4F6EEF14}" type="presParOf" srcId="{1A84AAE2-0808-451B-B00F-51978064A56A}" destId="{6F58A52D-AFF9-49F5-8538-1AB9A54C1571}" srcOrd="8" destOrd="0" presId="urn:microsoft.com/office/officeart/2005/8/layout/lProcess3"/>
    <dgm:cxn modelId="{ED12AC98-406E-4181-B36E-E5DCCA79B2DA}" type="presParOf" srcId="{1A84AAE2-0808-451B-B00F-51978064A56A}" destId="{26A65A6A-FEA9-4FF4-AB74-E96C5C5FD924}" srcOrd="9" destOrd="0" presId="urn:microsoft.com/office/officeart/2005/8/layout/lProcess3"/>
    <dgm:cxn modelId="{3194EB45-0636-4686-9137-AC183D0C0CE3}" type="presParOf" srcId="{1A84AAE2-0808-451B-B00F-51978064A56A}" destId="{9DA68F1C-8A13-4764-9EED-8C5C1AC113E6}" srcOrd="10" destOrd="0" presId="urn:microsoft.com/office/officeart/2005/8/layout/lProcess3"/>
    <dgm:cxn modelId="{DF5CBDB7-2623-46A5-A952-C0DF06C46FF2}" type="presParOf" srcId="{1DE78E1A-287A-4644-911E-2C3E7FDD395B}" destId="{0D952C92-7C21-4671-AE94-64DCC08CB47C}" srcOrd="1" destOrd="0" presId="urn:microsoft.com/office/officeart/2005/8/layout/lProcess3"/>
    <dgm:cxn modelId="{C838AD49-E1E4-4872-AC9A-B11B83F071F1}" type="presParOf" srcId="{1DE78E1A-287A-4644-911E-2C3E7FDD395B}" destId="{FED88096-892B-4EC2-9E54-1AC122C68345}" srcOrd="2" destOrd="0" presId="urn:microsoft.com/office/officeart/2005/8/layout/lProcess3"/>
    <dgm:cxn modelId="{750C95E6-565B-43DF-8EAB-BB598045D0E9}" type="presParOf" srcId="{FED88096-892B-4EC2-9E54-1AC122C68345}" destId="{45A1425D-2946-43E1-B1EC-77043B192449}" srcOrd="0" destOrd="0" presId="urn:microsoft.com/office/officeart/2005/8/layout/lProcess3"/>
    <dgm:cxn modelId="{CA615CAB-EB8B-4A93-93C9-1FC67FBA607B}" type="presParOf" srcId="{FED88096-892B-4EC2-9E54-1AC122C68345}" destId="{6EDFC9BE-7488-47C8-9C6B-A9C6D1E82C02}" srcOrd="1" destOrd="0" presId="urn:microsoft.com/office/officeart/2005/8/layout/lProcess3"/>
    <dgm:cxn modelId="{5BA53591-4418-4DE6-ADB5-ECAAF47B2303}" type="presParOf" srcId="{FED88096-892B-4EC2-9E54-1AC122C68345}" destId="{050DB05E-783F-4CCF-9747-F95A7E32D478}" srcOrd="2" destOrd="0" presId="urn:microsoft.com/office/officeart/2005/8/layout/lProcess3"/>
    <dgm:cxn modelId="{E09145B5-25C5-4651-ADB2-4B7228A525BE}" type="presParOf" srcId="{FED88096-892B-4EC2-9E54-1AC122C68345}" destId="{3F8234F6-BDB0-48B1-8C45-48C899BF167B}" srcOrd="3" destOrd="0" presId="urn:microsoft.com/office/officeart/2005/8/layout/lProcess3"/>
    <dgm:cxn modelId="{FDDAC889-786C-4595-9C72-F764630E9630}" type="presParOf" srcId="{FED88096-892B-4EC2-9E54-1AC122C68345}" destId="{EE523708-1E1B-4AAA-A918-8F0DB46124F9}" srcOrd="4" destOrd="0" presId="urn:microsoft.com/office/officeart/2005/8/layout/lProcess3"/>
    <dgm:cxn modelId="{0A474BF0-7B53-4D3B-BB46-B3B905DA9B6C}" type="presParOf" srcId="{FED88096-892B-4EC2-9E54-1AC122C68345}" destId="{394A353D-2412-4CC3-8B67-F3A0F8C998EB}" srcOrd="5" destOrd="0" presId="urn:microsoft.com/office/officeart/2005/8/layout/lProcess3"/>
    <dgm:cxn modelId="{96C6BCB3-D62C-4445-89F4-5D967A415F50}" type="presParOf" srcId="{FED88096-892B-4EC2-9E54-1AC122C68345}" destId="{87B307EE-F7E3-478C-99DF-363D7920F82C}" srcOrd="6" destOrd="0" presId="urn:microsoft.com/office/officeart/2005/8/layout/lProcess3"/>
    <dgm:cxn modelId="{017CA1E8-334C-4724-ACA9-B08BA176049F}" type="presParOf" srcId="{FED88096-892B-4EC2-9E54-1AC122C68345}" destId="{1F7177C5-C327-4167-AB92-530115D8A37A}" srcOrd="7" destOrd="0" presId="urn:microsoft.com/office/officeart/2005/8/layout/lProcess3"/>
    <dgm:cxn modelId="{8D9D76B5-1C06-466E-9223-DC965F56770C}" type="presParOf" srcId="{FED88096-892B-4EC2-9E54-1AC122C68345}" destId="{CED8139D-1618-489C-91A6-6B435D2A051E}" srcOrd="8" destOrd="0" presId="urn:microsoft.com/office/officeart/2005/8/layout/lProcess3"/>
    <dgm:cxn modelId="{126F53A2-608D-4627-9E22-307208EB89E0}" type="presParOf" srcId="{FED88096-892B-4EC2-9E54-1AC122C68345}" destId="{232C0BA6-DDAE-4F0C-A30C-002BE01369D9}" srcOrd="9" destOrd="0" presId="urn:microsoft.com/office/officeart/2005/8/layout/lProcess3"/>
    <dgm:cxn modelId="{48279FFF-5572-46B4-AA3B-B05EEABA6BB1}" type="presParOf" srcId="{FED88096-892B-4EC2-9E54-1AC122C68345}" destId="{76A59E32-1369-43F3-BA20-12EAEE339E49}" srcOrd="10" destOrd="0" presId="urn:microsoft.com/office/officeart/2005/8/layout/lProcess3"/>
    <dgm:cxn modelId="{A10D23F7-F880-4CC8-97AB-65A298E5F8E7}" type="presParOf" srcId="{1DE78E1A-287A-4644-911E-2C3E7FDD395B}" destId="{91A9BBBC-E226-44ED-B966-18A36F466E5B}" srcOrd="3" destOrd="0" presId="urn:microsoft.com/office/officeart/2005/8/layout/lProcess3"/>
    <dgm:cxn modelId="{592FA729-8145-4D18-B756-C68F20532742}" type="presParOf" srcId="{1DE78E1A-287A-4644-911E-2C3E7FDD395B}" destId="{DAD2B607-B187-469D-B28A-EE687D766071}" srcOrd="4" destOrd="0" presId="urn:microsoft.com/office/officeart/2005/8/layout/lProcess3"/>
    <dgm:cxn modelId="{10021B57-99D7-452F-AD30-D0758ACD36DA}" type="presParOf" srcId="{DAD2B607-B187-469D-B28A-EE687D766071}" destId="{AC514612-8832-4B0F-86D0-3200CCE54AE0}" srcOrd="0" destOrd="0" presId="urn:microsoft.com/office/officeart/2005/8/layout/lProcess3"/>
    <dgm:cxn modelId="{FB910D25-0CDE-47C2-9B19-082D1319B083}" type="presParOf" srcId="{DAD2B607-B187-469D-B28A-EE687D766071}" destId="{71A396D0-074E-437B-B2EF-A0B34E0BE7F7}" srcOrd="1" destOrd="0" presId="urn:microsoft.com/office/officeart/2005/8/layout/lProcess3"/>
    <dgm:cxn modelId="{A652C5B9-1CCD-407C-8055-2F629BCB8D4B}" type="presParOf" srcId="{DAD2B607-B187-469D-B28A-EE687D766071}" destId="{F6BDEFCB-7EF5-4C67-9CC3-C8A5F8837BEC}" srcOrd="2" destOrd="0" presId="urn:microsoft.com/office/officeart/2005/8/layout/lProcess3"/>
    <dgm:cxn modelId="{F75138C2-7F3B-4A06-A333-2041F85A337D}" type="presParOf" srcId="{DAD2B607-B187-469D-B28A-EE687D766071}" destId="{AB380205-9165-48BE-90AF-1D37155F4626}" srcOrd="3" destOrd="0" presId="urn:microsoft.com/office/officeart/2005/8/layout/lProcess3"/>
    <dgm:cxn modelId="{1A5F15D3-A5A1-4A8C-81B7-C7C280F31E86}" type="presParOf" srcId="{DAD2B607-B187-469D-B28A-EE687D766071}" destId="{58186B43-07B2-485C-BAFC-A38A2D2CA252}" srcOrd="4" destOrd="0" presId="urn:microsoft.com/office/officeart/2005/8/layout/lProcess3"/>
    <dgm:cxn modelId="{84EE89C9-E0E2-4A56-BF61-6CE92D98D1F1}" type="presParOf" srcId="{DAD2B607-B187-469D-B28A-EE687D766071}" destId="{7D78B4A9-2CA2-46A7-9724-90A84F6E3D1B}" srcOrd="5" destOrd="0" presId="urn:microsoft.com/office/officeart/2005/8/layout/lProcess3"/>
    <dgm:cxn modelId="{A3E9765F-3125-46B7-960A-427A60457FD2}" type="presParOf" srcId="{DAD2B607-B187-469D-B28A-EE687D766071}" destId="{0147A711-EAE7-444C-88B2-0E0CB88E6274}" srcOrd="6" destOrd="0" presId="urn:microsoft.com/office/officeart/2005/8/layout/lProcess3"/>
    <dgm:cxn modelId="{5CCCBA00-1852-489B-AF9D-764F6920A961}" type="presParOf" srcId="{DAD2B607-B187-469D-B28A-EE687D766071}" destId="{83242370-A8A0-49D9-8F01-B0DBCCE9E329}" srcOrd="7" destOrd="0" presId="urn:microsoft.com/office/officeart/2005/8/layout/lProcess3"/>
    <dgm:cxn modelId="{408F77B0-5725-4833-A6F1-EEFF94D0785F}" type="presParOf" srcId="{DAD2B607-B187-469D-B28A-EE687D766071}" destId="{9FA528D7-26AC-4E04-B14F-E0155359DB2B}" srcOrd="8" destOrd="0" presId="urn:microsoft.com/office/officeart/2005/8/layout/lProcess3"/>
    <dgm:cxn modelId="{34B7B0BB-AC67-4C22-B383-374F59BFDCC0}" type="presParOf" srcId="{DAD2B607-B187-469D-B28A-EE687D766071}" destId="{830719E3-B039-41C3-82E1-9E3518710380}" srcOrd="9" destOrd="0" presId="urn:microsoft.com/office/officeart/2005/8/layout/lProcess3"/>
    <dgm:cxn modelId="{6A9353A4-2133-49B4-B11B-25B5C1EFD7C6}" type="presParOf" srcId="{DAD2B607-B187-469D-B28A-EE687D766071}" destId="{6E216FF8-2780-4ABE-969B-CDD8F6583DDC}" srcOrd="10" destOrd="0" presId="urn:microsoft.com/office/officeart/2005/8/layout/lProcess3"/>
    <dgm:cxn modelId="{5E115026-1A78-47EC-B3B9-C6FDE6A3F4E8}" type="presParOf" srcId="{1DE78E1A-287A-4644-911E-2C3E7FDD395B}" destId="{8666EA12-234D-4CB4-8E75-0C81F718C0A9}" srcOrd="5" destOrd="0" presId="urn:microsoft.com/office/officeart/2005/8/layout/lProcess3"/>
    <dgm:cxn modelId="{DCA1D852-6117-4736-8EBA-50E6F909EDED}" type="presParOf" srcId="{1DE78E1A-287A-4644-911E-2C3E7FDD395B}" destId="{0D0AE263-B1EA-44DD-9FE2-9CAC606D6FC5}" srcOrd="6" destOrd="0" presId="urn:microsoft.com/office/officeart/2005/8/layout/lProcess3"/>
    <dgm:cxn modelId="{50D7AD5F-9B18-4CF5-9461-59BB5EBFC5EB}" type="presParOf" srcId="{0D0AE263-B1EA-44DD-9FE2-9CAC606D6FC5}" destId="{01295B02-5629-4790-BB4D-A7650C590746}" srcOrd="0" destOrd="0" presId="urn:microsoft.com/office/officeart/2005/8/layout/lProcess3"/>
    <dgm:cxn modelId="{D614DE7C-0F7B-4A82-B391-2177E6EB656A}" type="presParOf" srcId="{0D0AE263-B1EA-44DD-9FE2-9CAC606D6FC5}" destId="{A75BC414-AEA6-434B-B674-287E649E0B5D}" srcOrd="1" destOrd="0" presId="urn:microsoft.com/office/officeart/2005/8/layout/lProcess3"/>
    <dgm:cxn modelId="{08BBBF0A-BC97-4D66-B6A1-6C5384587FBA}" type="presParOf" srcId="{0D0AE263-B1EA-44DD-9FE2-9CAC606D6FC5}" destId="{6EF753EC-17CD-46A6-81D5-6C737C6C4D8F}" srcOrd="2" destOrd="0" presId="urn:microsoft.com/office/officeart/2005/8/layout/lProcess3"/>
    <dgm:cxn modelId="{E7B52315-F888-4FB9-8EAF-5F269D19EDD9}" type="presParOf" srcId="{0D0AE263-B1EA-44DD-9FE2-9CAC606D6FC5}" destId="{F90259C5-94CE-4646-9BBB-9D77BAFCC246}" srcOrd="3" destOrd="0" presId="urn:microsoft.com/office/officeart/2005/8/layout/lProcess3"/>
    <dgm:cxn modelId="{6B494ED2-D653-412A-9B2C-E1A385520822}" type="presParOf" srcId="{0D0AE263-B1EA-44DD-9FE2-9CAC606D6FC5}" destId="{63D44174-705A-471D-8957-98F128C02313}" srcOrd="4" destOrd="0" presId="urn:microsoft.com/office/officeart/2005/8/layout/lProcess3"/>
    <dgm:cxn modelId="{224B64EA-CD0E-4FA3-A85E-1D54DCECD0FD}" type="presParOf" srcId="{0D0AE263-B1EA-44DD-9FE2-9CAC606D6FC5}" destId="{F97E5AF9-947E-4CC6-9073-F777788D2625}" srcOrd="5" destOrd="0" presId="urn:microsoft.com/office/officeart/2005/8/layout/lProcess3"/>
    <dgm:cxn modelId="{EBAD3D41-9233-4304-8413-BA30350E04F8}" type="presParOf" srcId="{0D0AE263-B1EA-44DD-9FE2-9CAC606D6FC5}" destId="{A7989C51-1EF4-4500-81D6-6D719DDD68D0}" srcOrd="6" destOrd="0" presId="urn:microsoft.com/office/officeart/2005/8/layout/lProcess3"/>
    <dgm:cxn modelId="{55322381-A1F4-4096-9562-23DEEC8CFEDE}" type="presParOf" srcId="{0D0AE263-B1EA-44DD-9FE2-9CAC606D6FC5}" destId="{49AEC048-1AAE-4592-9445-E9DFA3B4AE30}" srcOrd="7" destOrd="0" presId="urn:microsoft.com/office/officeart/2005/8/layout/lProcess3"/>
    <dgm:cxn modelId="{514DB903-515B-47F0-AF3F-37CBE505991C}" type="presParOf" srcId="{0D0AE263-B1EA-44DD-9FE2-9CAC606D6FC5}" destId="{A13861A0-3C4D-407A-AD33-595EDBF2F097}" srcOrd="8" destOrd="0" presId="urn:microsoft.com/office/officeart/2005/8/layout/lProcess3"/>
    <dgm:cxn modelId="{E5B4B962-20B0-4FE4-81F2-F884317740DD}" type="presParOf" srcId="{0D0AE263-B1EA-44DD-9FE2-9CAC606D6FC5}" destId="{4A81BF62-7FD5-4E20-9909-F9C72ED58289}" srcOrd="9" destOrd="0" presId="urn:microsoft.com/office/officeart/2005/8/layout/lProcess3"/>
    <dgm:cxn modelId="{CA5657B5-167D-4D10-9C29-4BE85B326F2E}" type="presParOf" srcId="{0D0AE263-B1EA-44DD-9FE2-9CAC606D6FC5}" destId="{0EE2C3EC-54D5-48DD-BB5E-1E84B5C6767E}" srcOrd="10" destOrd="0" presId="urn:microsoft.com/office/officeart/2005/8/layout/lProcess3"/>
    <dgm:cxn modelId="{C9059DE4-524E-4262-BBB3-6DF9611E58F0}" type="presParOf" srcId="{1DE78E1A-287A-4644-911E-2C3E7FDD395B}" destId="{DCF6DC2F-5145-4A69-9352-14B4B105CEA7}" srcOrd="7" destOrd="0" presId="urn:microsoft.com/office/officeart/2005/8/layout/lProcess3"/>
    <dgm:cxn modelId="{F7857194-1AE9-4758-AEBD-9E7B3A5474B8}" type="presParOf" srcId="{1DE78E1A-287A-4644-911E-2C3E7FDD395B}" destId="{B96505B2-8244-4CEC-B020-828904E4E906}" srcOrd="8" destOrd="0" presId="urn:microsoft.com/office/officeart/2005/8/layout/lProcess3"/>
    <dgm:cxn modelId="{DF9F2F89-2C42-485F-8247-D1698F987F36}" type="presParOf" srcId="{B96505B2-8244-4CEC-B020-828904E4E906}" destId="{369C16FF-CB50-4D98-9172-0EA7B2F7C0E9}" srcOrd="0" destOrd="0" presId="urn:microsoft.com/office/officeart/2005/8/layout/lProcess3"/>
    <dgm:cxn modelId="{DE49424A-593C-40FC-BA9F-2874408692CB}" type="presParOf" srcId="{B96505B2-8244-4CEC-B020-828904E4E906}" destId="{C7EE0844-4E45-4E96-9DFA-0A8C0F2C9AA6}" srcOrd="1" destOrd="0" presId="urn:microsoft.com/office/officeart/2005/8/layout/lProcess3"/>
    <dgm:cxn modelId="{01C36C4E-2B8F-4FD6-91EB-5E3E053627E1}" type="presParOf" srcId="{B96505B2-8244-4CEC-B020-828904E4E906}" destId="{F9B40E24-8054-4554-8AF6-D6B681E13EA0}" srcOrd="2" destOrd="0" presId="urn:microsoft.com/office/officeart/2005/8/layout/lProcess3"/>
    <dgm:cxn modelId="{4A11EAFA-E02E-475A-BA17-141D0EF9EE0A}" type="presParOf" srcId="{B96505B2-8244-4CEC-B020-828904E4E906}" destId="{C5B67E5E-B363-42E2-80C1-79C2B5650A3A}" srcOrd="3" destOrd="0" presId="urn:microsoft.com/office/officeart/2005/8/layout/lProcess3"/>
    <dgm:cxn modelId="{596FC311-7E47-44D5-805C-B45E2CF42654}" type="presParOf" srcId="{B96505B2-8244-4CEC-B020-828904E4E906}" destId="{F7823181-D95C-4548-8D31-3B61A998A8F3}" srcOrd="4" destOrd="0" presId="urn:microsoft.com/office/officeart/2005/8/layout/lProcess3"/>
    <dgm:cxn modelId="{33C7CDB5-2F78-4CE4-A69A-BE686111EB9F}" type="presParOf" srcId="{B96505B2-8244-4CEC-B020-828904E4E906}" destId="{AC437654-8085-4057-89E9-126A4BC75DAF}" srcOrd="5" destOrd="0" presId="urn:microsoft.com/office/officeart/2005/8/layout/lProcess3"/>
    <dgm:cxn modelId="{1DC76683-74EC-4263-8B86-EB88A3604628}" type="presParOf" srcId="{B96505B2-8244-4CEC-B020-828904E4E906}" destId="{54E5B12B-5A5F-4DFD-A255-6C8C32526395}" srcOrd="6" destOrd="0" presId="urn:microsoft.com/office/officeart/2005/8/layout/lProcess3"/>
    <dgm:cxn modelId="{B87BFC85-B4BE-430E-9B2A-D52951171164}" type="presParOf" srcId="{B96505B2-8244-4CEC-B020-828904E4E906}" destId="{DE0F41F1-1B55-44E1-9D5A-189E52E87322}" srcOrd="7" destOrd="0" presId="urn:microsoft.com/office/officeart/2005/8/layout/lProcess3"/>
    <dgm:cxn modelId="{75369953-6E9B-4ADD-8257-256B0B061AAB}" type="presParOf" srcId="{B96505B2-8244-4CEC-B020-828904E4E906}" destId="{9D541BD9-D6A2-43C7-B91C-2D697E81376F}" srcOrd="8" destOrd="0" presId="urn:microsoft.com/office/officeart/2005/8/layout/lProcess3"/>
    <dgm:cxn modelId="{8341DEC8-1DCA-483B-A920-E399B635FA8A}" type="presParOf" srcId="{B96505B2-8244-4CEC-B020-828904E4E906}" destId="{603039C6-CA7A-4BF0-B9C3-E55981299194}" srcOrd="9" destOrd="0" presId="urn:microsoft.com/office/officeart/2005/8/layout/lProcess3"/>
    <dgm:cxn modelId="{E75BD234-760B-4A8A-A120-C1675BCE22C4}" type="presParOf" srcId="{B96505B2-8244-4CEC-B020-828904E4E906}" destId="{267F98CF-3B0B-4374-BA95-4747FC32EBB6}" srcOrd="10" destOrd="0" presId="urn:microsoft.com/office/officeart/2005/8/layout/lProcess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rgbClr val="C00000"/>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rgbClr val="C00000"/>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rgbClr val="C00000"/>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rgbClr val="C00000"/>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rgbClr val="C00000"/>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4C25754-AF2E-445A-B1C4-208C361E302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647DD7A5-0012-436B-BAB9-BDE52DC25B90}">
      <dgm:prSet phldrT="[Tekst]" custT="1"/>
      <dgm:spPr>
        <a:solidFill>
          <a:srgbClr val="C00000"/>
        </a:solidFill>
      </dgm:spPr>
      <dgm:t>
        <a:bodyPr/>
        <a:lstStyle/>
        <a:p>
          <a:r>
            <a:rPr lang="nl-NL" sz="1000">
              <a:solidFill>
                <a:schemeClr val="bg1"/>
              </a:solidFill>
            </a:rPr>
            <a:t>Data-allianties</a:t>
          </a:r>
        </a:p>
      </dgm:t>
    </dgm:pt>
    <dgm:pt modelId="{3AB16B59-D0CB-483E-BCBC-D5B2E737CB7D}" type="parTrans" cxnId="{3F8CF7C8-6210-42A5-8DA3-FA0302C8434A}">
      <dgm:prSet/>
      <dgm:spPr/>
      <dgm:t>
        <a:bodyPr/>
        <a:lstStyle/>
        <a:p>
          <a:endParaRPr lang="nl-NL" sz="1000"/>
        </a:p>
      </dgm:t>
    </dgm:pt>
    <dgm:pt modelId="{706A9391-DCC8-4EEB-A18D-BE55B315846C}" type="sibTrans" cxnId="{3F8CF7C8-6210-42A5-8DA3-FA0302C8434A}">
      <dgm:prSet/>
      <dgm:spPr/>
      <dgm:t>
        <a:bodyPr/>
        <a:lstStyle/>
        <a:p>
          <a:endParaRPr lang="nl-NL" sz="1000"/>
        </a:p>
      </dgm:t>
    </dgm:pt>
    <dgm:pt modelId="{6D8F2393-DBD3-466D-BB9D-AE10062D1E45}">
      <dgm:prSet phldrT="[Tekst]" custT="1"/>
      <dgm:spPr>
        <a:solidFill>
          <a:schemeClr val="accent1">
            <a:lumMod val="90000"/>
            <a:alpha val="90000"/>
          </a:schemeClr>
        </a:solidFill>
      </dgm:spPr>
      <dgm:t>
        <a:bodyPr/>
        <a:lstStyle/>
        <a:p>
          <a:pPr>
            <a:buFontTx/>
            <a:buNone/>
          </a:pPr>
          <a:r>
            <a:rPr lang="nl-NL" sz="900" dirty="0"/>
            <a:t>Voorwaarden opstellen voor data-allianties</a:t>
          </a:r>
        </a:p>
        <a:p>
          <a:pPr>
            <a:buFontTx/>
            <a:buNone/>
          </a:pPr>
          <a:r>
            <a:rPr lang="nl-NL" sz="900" dirty="0">
              <a:solidFill>
                <a:schemeClr val="tx1"/>
              </a:solidFill>
            </a:rPr>
            <a:t>Datastrategie afspreken met ketenpartners</a:t>
          </a:r>
        </a:p>
        <a:p>
          <a:pPr>
            <a:buFontTx/>
            <a:buNone/>
          </a:pPr>
          <a:r>
            <a:rPr lang="nl-NL" sz="900" dirty="0">
              <a:solidFill>
                <a:schemeClr val="tx1"/>
              </a:solidFill>
            </a:rPr>
            <a:t>Pilots data-allianties</a:t>
          </a:r>
        </a:p>
      </dgm:t>
    </dgm:pt>
    <dgm:pt modelId="{583416F9-FBC6-4C82-8614-951CEE12CD70}" type="parTrans" cxnId="{D65ABC08-8E9F-48FB-9C91-F5256B3DDC67}">
      <dgm:prSet/>
      <dgm:spPr/>
      <dgm:t>
        <a:bodyPr/>
        <a:lstStyle/>
        <a:p>
          <a:endParaRPr lang="nl-NL" sz="1000"/>
        </a:p>
      </dgm:t>
    </dgm:pt>
    <dgm:pt modelId="{03DE5228-1E63-4C54-9AE4-3B883B2F1DBA}" type="sibTrans" cxnId="{D65ABC08-8E9F-48FB-9C91-F5256B3DDC67}">
      <dgm:prSet/>
      <dgm:spPr/>
      <dgm:t>
        <a:bodyPr/>
        <a:lstStyle/>
        <a:p>
          <a:endParaRPr lang="nl-NL" sz="1000"/>
        </a:p>
      </dgm:t>
    </dgm:pt>
    <dgm:pt modelId="{545954EC-4953-467F-8E27-933BAB5A8E05}">
      <dgm:prSet phldrT="[Tekst]" custT="1"/>
      <dgm:spPr/>
      <dgm:t>
        <a:bodyPr/>
        <a:lstStyle/>
        <a:p>
          <a:pPr>
            <a:spcAft>
              <a:spcPts val="600"/>
            </a:spcAft>
            <a:buFont typeface="+mj-lt"/>
            <a:buAutoNum type="alphaLcParenR" startAt="3"/>
          </a:pPr>
          <a:r>
            <a:rPr lang="nl-NL" sz="900"/>
            <a:t>Randvoorwaarden inrichten om data-allianties te realiseren</a:t>
          </a:r>
        </a:p>
        <a:p>
          <a:pPr>
            <a:spcAft>
              <a:spcPts val="600"/>
            </a:spcAft>
            <a:buClrTx/>
            <a:buSzTx/>
            <a:buFont typeface="Arial" panose="020B0604020202020204" pitchFamily="34" charset="0"/>
            <a:buChar char="•"/>
          </a:pPr>
          <a:r>
            <a:rPr lang="nl-NL" sz="900"/>
            <a:t>Eerste data-alliantie(s) in werking brengen</a:t>
          </a:r>
          <a:endParaRPr lang="nl-NL" sz="900">
            <a:solidFill>
              <a:schemeClr val="tx1"/>
            </a:solidFill>
          </a:endParaRPr>
        </a:p>
      </dgm:t>
    </dgm:pt>
    <dgm:pt modelId="{E031E22B-55B8-4FED-A7B2-47054E3D78C2}" type="parTrans" cxnId="{80260B3B-B79C-46B4-97AA-A804C2A3920E}">
      <dgm:prSet/>
      <dgm:spPr/>
      <dgm:t>
        <a:bodyPr/>
        <a:lstStyle/>
        <a:p>
          <a:endParaRPr lang="nl-NL" sz="1000"/>
        </a:p>
      </dgm:t>
    </dgm:pt>
    <dgm:pt modelId="{3195B29B-0B9A-47B3-B2F4-4FDC8876F8E7}" type="sibTrans" cxnId="{80260B3B-B79C-46B4-97AA-A804C2A3920E}">
      <dgm:prSet/>
      <dgm:spPr/>
      <dgm:t>
        <a:bodyPr/>
        <a:lstStyle/>
        <a:p>
          <a:endParaRPr lang="nl-NL" sz="1000"/>
        </a:p>
      </dgm:t>
    </dgm:pt>
    <dgm:pt modelId="{22C9BA16-C912-4AB8-B16E-FF797935FE95}">
      <dgm:prSet phldrT="[Tekst]" custT="1"/>
      <dgm:spPr>
        <a:solidFill>
          <a:srgbClr val="C00000"/>
        </a:solidFill>
        <a:ln>
          <a:solidFill>
            <a:schemeClr val="bg1"/>
          </a:solidFill>
        </a:ln>
      </dgm:spPr>
      <dgm:t>
        <a:bodyPr/>
        <a:lstStyle/>
        <a:p>
          <a:r>
            <a:rPr lang="nl-NL" sz="1000">
              <a:solidFill>
                <a:schemeClr val="bg1"/>
              </a:solidFill>
            </a:rPr>
            <a:t>Onbetwistbare data</a:t>
          </a:r>
        </a:p>
      </dgm:t>
    </dgm:pt>
    <dgm:pt modelId="{93B98DF1-7871-4E1C-BCA9-B7D1E46536EC}" type="parTrans" cxnId="{C244C082-4F01-4C68-ACB6-0E8FA3198B3E}">
      <dgm:prSet/>
      <dgm:spPr/>
      <dgm:t>
        <a:bodyPr/>
        <a:lstStyle/>
        <a:p>
          <a:endParaRPr lang="nl-NL" sz="1000"/>
        </a:p>
      </dgm:t>
    </dgm:pt>
    <dgm:pt modelId="{92090AD9-6C79-48EC-9401-F0B181673841}" type="sibTrans" cxnId="{C244C082-4F01-4C68-ACB6-0E8FA3198B3E}">
      <dgm:prSet/>
      <dgm:spPr/>
      <dgm:t>
        <a:bodyPr/>
        <a:lstStyle/>
        <a:p>
          <a:endParaRPr lang="nl-NL" sz="1000"/>
        </a:p>
      </dgm:t>
    </dgm:pt>
    <dgm:pt modelId="{17FA8828-52A2-4AF5-B391-AB85135831D1}">
      <dgm:prSet phldrT="[Tekst]" custT="1"/>
      <dgm:spPr>
        <a:solidFill>
          <a:schemeClr val="accent1">
            <a:lumMod val="90000"/>
            <a:alpha val="90000"/>
          </a:schemeClr>
        </a:solidFill>
      </dgm:spPr>
      <dgm:t>
        <a:bodyPr/>
        <a:lstStyle/>
        <a:p>
          <a:pPr>
            <a:spcAft>
              <a:spcPts val="600"/>
            </a:spcAft>
            <a:buClrTx/>
            <a:buSzTx/>
            <a:buFont typeface="+mj-lt"/>
            <a:buAutoNum type="alphaLcParenR"/>
          </a:pPr>
          <a:r>
            <a:rPr lang="nl-NL" sz="900"/>
            <a:t>Kwaliteitscriteria nieuwe data vaststellen</a:t>
          </a:r>
        </a:p>
        <a:p>
          <a:pPr>
            <a:spcAft>
              <a:spcPts val="600"/>
            </a:spcAft>
            <a:buFont typeface="Arial" panose="020B0604020202020204" pitchFamily="34" charset="0"/>
            <a:buChar char="•"/>
          </a:pPr>
          <a:r>
            <a:rPr lang="nl-NL" sz="900"/>
            <a:t>Zicht krijgen op betrouwbaarheid historische data</a:t>
          </a:r>
        </a:p>
      </dgm:t>
    </dgm:pt>
    <dgm:pt modelId="{7C76C83D-CE5B-4D7C-AD83-B4E39CEEF00A}" type="parTrans" cxnId="{ED905CA8-78C4-4B26-B4F3-FBE3111ED1C6}">
      <dgm:prSet/>
      <dgm:spPr/>
      <dgm:t>
        <a:bodyPr/>
        <a:lstStyle/>
        <a:p>
          <a:endParaRPr lang="nl-NL" sz="1000"/>
        </a:p>
      </dgm:t>
    </dgm:pt>
    <dgm:pt modelId="{5831FBD0-5DF6-4737-9D40-31BD670C5784}" type="sibTrans" cxnId="{ED905CA8-78C4-4B26-B4F3-FBE3111ED1C6}">
      <dgm:prSet/>
      <dgm:spPr/>
      <dgm:t>
        <a:bodyPr/>
        <a:lstStyle/>
        <a:p>
          <a:endParaRPr lang="nl-NL" sz="1000"/>
        </a:p>
      </dgm:t>
    </dgm:pt>
    <dgm:pt modelId="{1C057D00-7046-4C92-8845-E659397CD6FE}">
      <dgm:prSet phldrT="[Tekst]" custT="1"/>
      <dgm:spPr/>
      <dgm:t>
        <a:bodyPr/>
        <a:lstStyle/>
        <a:p>
          <a:pPr>
            <a:buFont typeface="+mj-lt"/>
            <a:buAutoNum type="alphaLcParenR" startAt="2"/>
          </a:pPr>
          <a:r>
            <a:rPr lang="nl-NL" sz="900"/>
            <a:t>Betrouwbaarheid historische data verbeteren</a:t>
          </a:r>
          <a:endParaRPr lang="nl-NL" sz="900">
            <a:solidFill>
              <a:srgbClr val="C00000"/>
            </a:solidFill>
          </a:endParaRPr>
        </a:p>
      </dgm:t>
    </dgm:pt>
    <dgm:pt modelId="{5CCF2DFA-AA14-4223-93C4-29A2BEE342FE}" type="parTrans" cxnId="{BC9DE52F-0BB5-4ACB-9274-779AEBE21803}">
      <dgm:prSet/>
      <dgm:spPr/>
      <dgm:t>
        <a:bodyPr/>
        <a:lstStyle/>
        <a:p>
          <a:endParaRPr lang="nl-NL" sz="1000"/>
        </a:p>
      </dgm:t>
    </dgm:pt>
    <dgm:pt modelId="{9F92A93D-431C-4D58-AC15-E971BD7417E8}" type="sibTrans" cxnId="{BC9DE52F-0BB5-4ACB-9274-779AEBE21803}">
      <dgm:prSet/>
      <dgm:spPr/>
      <dgm:t>
        <a:bodyPr/>
        <a:lstStyle/>
        <a:p>
          <a:endParaRPr lang="nl-NL" sz="1000"/>
        </a:p>
      </dgm:t>
    </dgm:pt>
    <dgm:pt modelId="{1D0431D3-64B3-4A2A-BC98-318609876B89}">
      <dgm:prSet phldrT="[Tekst]" custT="1"/>
      <dgm:spPr>
        <a:solidFill>
          <a:srgbClr val="C00000"/>
        </a:solidFill>
        <a:ln>
          <a:solidFill>
            <a:schemeClr val="bg1"/>
          </a:solidFill>
        </a:ln>
      </dgm:spPr>
      <dgm:t>
        <a:bodyPr/>
        <a:lstStyle/>
        <a:p>
          <a:r>
            <a:rPr lang="nl-NL" sz="1000">
              <a:solidFill>
                <a:schemeClr val="bg1"/>
              </a:solidFill>
            </a:rPr>
            <a:t>Data </a:t>
          </a:r>
          <a:r>
            <a:rPr lang="nl-NL" sz="1000" err="1">
              <a:solidFill>
                <a:schemeClr val="bg1"/>
              </a:solidFill>
            </a:rPr>
            <a:t>warehousing</a:t>
          </a:r>
          <a:endParaRPr lang="nl-NL" sz="1000">
            <a:solidFill>
              <a:schemeClr val="bg1"/>
            </a:solidFill>
          </a:endParaRPr>
        </a:p>
      </dgm:t>
    </dgm:pt>
    <dgm:pt modelId="{8F056A3C-46EE-4105-96AC-805B07284C64}" type="parTrans" cxnId="{CA0D4426-5DC5-4E15-8CD4-69B9B9213E44}">
      <dgm:prSet/>
      <dgm:spPr/>
      <dgm:t>
        <a:bodyPr/>
        <a:lstStyle/>
        <a:p>
          <a:endParaRPr lang="nl-NL" sz="1000"/>
        </a:p>
      </dgm:t>
    </dgm:pt>
    <dgm:pt modelId="{8B27C768-6F47-4415-9EAC-93F37110362D}" type="sibTrans" cxnId="{CA0D4426-5DC5-4E15-8CD4-69B9B9213E44}">
      <dgm:prSet/>
      <dgm:spPr/>
      <dgm:t>
        <a:bodyPr/>
        <a:lstStyle/>
        <a:p>
          <a:endParaRPr lang="nl-NL" sz="1000"/>
        </a:p>
      </dgm:t>
    </dgm:pt>
    <dgm:pt modelId="{C0C666D5-C6AE-48A4-8BEB-1E0B4423CC7F}">
      <dgm:prSet phldrT="[Tekst]" custT="1"/>
      <dgm:spPr>
        <a:solidFill>
          <a:schemeClr val="accent1">
            <a:lumMod val="90000"/>
            <a:alpha val="90000"/>
          </a:schemeClr>
        </a:solidFill>
      </dgm:spPr>
      <dgm:t>
        <a:bodyPr/>
        <a:lstStyle/>
        <a:p>
          <a:pPr>
            <a:buFont typeface="Arial" panose="020B0604020202020204" pitchFamily="34" charset="0"/>
            <a:buChar char="•"/>
          </a:pPr>
          <a:r>
            <a:rPr lang="nl-NL" sz="900"/>
            <a:t>Data-architectuur vaststellen</a:t>
          </a:r>
        </a:p>
      </dgm:t>
    </dgm:pt>
    <dgm:pt modelId="{7BCAD824-9F6C-4E51-8307-99177976A87F}" type="parTrans" cxnId="{3BB2DC6F-AEAE-401D-A71C-27E6D32EC4FB}">
      <dgm:prSet/>
      <dgm:spPr/>
      <dgm:t>
        <a:bodyPr/>
        <a:lstStyle/>
        <a:p>
          <a:endParaRPr lang="nl-NL" sz="1000"/>
        </a:p>
      </dgm:t>
    </dgm:pt>
    <dgm:pt modelId="{DEFB9FE7-85F7-46CA-BCD3-991BFEB6948F}" type="sibTrans" cxnId="{3BB2DC6F-AEAE-401D-A71C-27E6D32EC4FB}">
      <dgm:prSet/>
      <dgm:spPr/>
      <dgm:t>
        <a:bodyPr/>
        <a:lstStyle/>
        <a:p>
          <a:endParaRPr lang="nl-NL" sz="1000"/>
        </a:p>
      </dgm:t>
    </dgm:pt>
    <dgm:pt modelId="{1DD1AC1D-B569-457A-ABD8-ECBDB05C5B6B}">
      <dgm:prSet phldrT="[Tekst]" custT="1"/>
      <dgm:spPr/>
      <dgm:t>
        <a:bodyPr/>
        <a:lstStyle/>
        <a:p>
          <a:pPr>
            <a:spcAft>
              <a:spcPts val="600"/>
            </a:spcAft>
            <a:buClrTx/>
            <a:buSzTx/>
            <a:buFont typeface="Arial" panose="020B0604020202020204" pitchFamily="34" charset="0"/>
            <a:buChar char="•"/>
          </a:pPr>
          <a:r>
            <a:rPr lang="nl-NL" sz="900"/>
            <a:t>Datawarehouse-manager in stelling brengen</a:t>
          </a:r>
        </a:p>
        <a:p>
          <a:pPr>
            <a:spcAft>
              <a:spcPts val="600"/>
            </a:spcAft>
            <a:buFont typeface="Arial" panose="020B0604020202020204" pitchFamily="34" charset="0"/>
            <a:buChar char="•"/>
          </a:pPr>
          <a:r>
            <a:rPr lang="nl-NL" sz="900"/>
            <a:t>Datawarehouse inrichten</a:t>
          </a:r>
          <a:endParaRPr lang="nl-NL" sz="900">
            <a:solidFill>
              <a:srgbClr val="C00000"/>
            </a:solidFill>
          </a:endParaRPr>
        </a:p>
      </dgm:t>
    </dgm:pt>
    <dgm:pt modelId="{E1011E1B-B118-4875-B78A-2BFFE230438F}" type="parTrans" cxnId="{03C42A38-BDB9-4D6B-A478-6FFCEEADCCBC}">
      <dgm:prSet/>
      <dgm:spPr/>
      <dgm:t>
        <a:bodyPr/>
        <a:lstStyle/>
        <a:p>
          <a:endParaRPr lang="nl-NL" sz="1000"/>
        </a:p>
      </dgm:t>
    </dgm:pt>
    <dgm:pt modelId="{B22F1A8F-FD9D-4176-86A1-F295A23BFA9F}" type="sibTrans" cxnId="{03C42A38-BDB9-4D6B-A478-6FFCEEADCCBC}">
      <dgm:prSet/>
      <dgm:spPr/>
      <dgm:t>
        <a:bodyPr/>
        <a:lstStyle/>
        <a:p>
          <a:endParaRPr lang="nl-NL" sz="1000"/>
        </a:p>
      </dgm:t>
    </dgm:pt>
    <dgm:pt modelId="{0EEE7DE5-2B00-458B-BCAB-CB504BAD12E7}">
      <dgm:prSet custT="1"/>
      <dgm:spPr/>
      <dgm:t>
        <a:bodyPr/>
        <a:lstStyle/>
        <a:p>
          <a:endParaRPr lang="nl-NL" sz="900"/>
        </a:p>
      </dgm:t>
    </dgm:pt>
    <dgm:pt modelId="{BE541403-E310-4737-9C4F-EFF537A3BC21}" type="parTrans" cxnId="{41A7473E-0FAD-4341-A72C-25CA87F1ADE8}">
      <dgm:prSet/>
      <dgm:spPr/>
      <dgm:t>
        <a:bodyPr/>
        <a:lstStyle/>
        <a:p>
          <a:endParaRPr lang="nl-NL" sz="1000"/>
        </a:p>
      </dgm:t>
    </dgm:pt>
    <dgm:pt modelId="{9F4A5B04-0051-4F5D-9849-79FF15B78EF0}" type="sibTrans" cxnId="{41A7473E-0FAD-4341-A72C-25CA87F1ADE8}">
      <dgm:prSet/>
      <dgm:spPr/>
      <dgm:t>
        <a:bodyPr/>
        <a:lstStyle/>
        <a:p>
          <a:endParaRPr lang="nl-NL" sz="1000"/>
        </a:p>
      </dgm:t>
    </dgm:pt>
    <dgm:pt modelId="{1F00858C-756E-438F-ACFC-655C02058CEA}">
      <dgm:prSet custT="1"/>
      <dgm:spPr/>
      <dgm:t>
        <a:bodyPr/>
        <a:lstStyle/>
        <a:p>
          <a:r>
            <a:rPr lang="nl-NL" sz="900"/>
            <a:t>Volwassenheid: in staat om flexibel op en af te schalen en aan of af te sluiten</a:t>
          </a:r>
        </a:p>
      </dgm:t>
    </dgm:pt>
    <dgm:pt modelId="{3C5879BC-6281-4669-8BEF-2E0C6AD6F405}" type="parTrans" cxnId="{C355C560-CE03-445B-A62A-70AC2F8C5F66}">
      <dgm:prSet/>
      <dgm:spPr/>
      <dgm:t>
        <a:bodyPr/>
        <a:lstStyle/>
        <a:p>
          <a:endParaRPr lang="nl-NL" sz="1000"/>
        </a:p>
      </dgm:t>
    </dgm:pt>
    <dgm:pt modelId="{E87351C3-C3F4-4BF9-BC9D-FD82FB04DFC6}" type="sibTrans" cxnId="{C355C560-CE03-445B-A62A-70AC2F8C5F66}">
      <dgm:prSet/>
      <dgm:spPr/>
      <dgm:t>
        <a:bodyPr/>
        <a:lstStyle/>
        <a:p>
          <a:endParaRPr lang="nl-NL" sz="1000"/>
        </a:p>
      </dgm:t>
    </dgm:pt>
    <dgm:pt modelId="{2B87F55F-3DDA-4DB8-85DC-69C630658C4A}">
      <dgm:prSet custT="1"/>
      <dgm:spPr/>
      <dgm:t>
        <a:bodyPr/>
        <a:lstStyle/>
        <a:p>
          <a:endParaRPr lang="nl-NL" sz="900"/>
        </a:p>
      </dgm:t>
    </dgm:pt>
    <dgm:pt modelId="{E458CF27-D025-4F7B-B018-63E3837B169F}" type="parTrans" cxnId="{2E6CD061-5211-49EC-9292-53AC3A9AD1E4}">
      <dgm:prSet/>
      <dgm:spPr/>
      <dgm:t>
        <a:bodyPr/>
        <a:lstStyle/>
        <a:p>
          <a:endParaRPr lang="nl-NL" sz="1000"/>
        </a:p>
      </dgm:t>
    </dgm:pt>
    <dgm:pt modelId="{DE6A453F-2629-4B65-903F-D41D3D5F3A92}" type="sibTrans" cxnId="{2E6CD061-5211-49EC-9292-53AC3A9AD1E4}">
      <dgm:prSet/>
      <dgm:spPr/>
      <dgm:t>
        <a:bodyPr/>
        <a:lstStyle/>
        <a:p>
          <a:endParaRPr lang="nl-NL" sz="1000"/>
        </a:p>
      </dgm:t>
    </dgm:pt>
    <dgm:pt modelId="{23193460-2B00-4BBA-B2EF-55CC2B44251D}">
      <dgm:prSet custT="1"/>
      <dgm:spPr>
        <a:solidFill>
          <a:srgbClr val="C00000"/>
        </a:solidFill>
        <a:ln>
          <a:solidFill>
            <a:schemeClr val="bg1"/>
          </a:solidFill>
        </a:ln>
      </dgm:spPr>
      <dgm:t>
        <a:bodyPr/>
        <a:lstStyle/>
        <a:p>
          <a:r>
            <a:rPr lang="nl-NL" sz="1000">
              <a:solidFill>
                <a:schemeClr val="bg1"/>
              </a:solidFill>
            </a:rPr>
            <a:t>Data </a:t>
          </a:r>
          <a:r>
            <a:rPr lang="nl-NL" sz="1000" err="1">
              <a:solidFill>
                <a:schemeClr val="bg1"/>
              </a:solidFill>
            </a:rPr>
            <a:t>analytics</a:t>
          </a:r>
          <a:r>
            <a:rPr lang="nl-NL" sz="1000">
              <a:solidFill>
                <a:schemeClr val="bg1"/>
              </a:solidFill>
            </a:rPr>
            <a:t> &amp; </a:t>
          </a:r>
          <a:r>
            <a:rPr lang="nl-NL" sz="1000" err="1">
              <a:solidFill>
                <a:schemeClr val="bg1"/>
              </a:solidFill>
            </a:rPr>
            <a:t>science</a:t>
          </a:r>
          <a:endParaRPr lang="nl-NL" sz="1000">
            <a:solidFill>
              <a:schemeClr val="bg1"/>
            </a:solidFill>
          </a:endParaRPr>
        </a:p>
      </dgm:t>
    </dgm:pt>
    <dgm:pt modelId="{9039EAD3-CDDB-4CC8-A3AF-7A425DFF7FAF}" type="parTrans" cxnId="{9B937BAE-08F9-42AE-AC98-6AD3DC9FA8CB}">
      <dgm:prSet/>
      <dgm:spPr/>
      <dgm:t>
        <a:bodyPr/>
        <a:lstStyle/>
        <a:p>
          <a:endParaRPr lang="nl-NL" sz="1000"/>
        </a:p>
      </dgm:t>
    </dgm:pt>
    <dgm:pt modelId="{B40E2452-A66F-4500-9BFD-26EFE8F1C46C}" type="sibTrans" cxnId="{9B937BAE-08F9-42AE-AC98-6AD3DC9FA8CB}">
      <dgm:prSet/>
      <dgm:spPr/>
      <dgm:t>
        <a:bodyPr/>
        <a:lstStyle/>
        <a:p>
          <a:endParaRPr lang="nl-NL" sz="1000"/>
        </a:p>
      </dgm:t>
    </dgm:pt>
    <dgm:pt modelId="{746BBA83-FC51-4B44-8C3D-F93ACED5A830}">
      <dgm:prSet custT="1"/>
      <dgm:spPr/>
      <dgm:t>
        <a:bodyPr/>
        <a:lstStyle/>
        <a:p>
          <a:endParaRPr lang="nl-NL" sz="900"/>
        </a:p>
      </dgm:t>
    </dgm:pt>
    <dgm:pt modelId="{43D31E03-9F7F-4CDB-BA1E-5B60E76E75A0}" type="parTrans" cxnId="{5C8C9688-845D-407B-8262-856083BB8B02}">
      <dgm:prSet/>
      <dgm:spPr/>
      <dgm:t>
        <a:bodyPr/>
        <a:lstStyle/>
        <a:p>
          <a:endParaRPr lang="nl-NL" sz="1000"/>
        </a:p>
      </dgm:t>
    </dgm:pt>
    <dgm:pt modelId="{645A86AD-7CFE-406C-A490-80E89BBD3A4A}" type="sibTrans" cxnId="{5C8C9688-845D-407B-8262-856083BB8B02}">
      <dgm:prSet/>
      <dgm:spPr/>
      <dgm:t>
        <a:bodyPr/>
        <a:lstStyle/>
        <a:p>
          <a:endParaRPr lang="nl-NL" sz="1000"/>
        </a:p>
      </dgm:t>
    </dgm:pt>
    <dgm:pt modelId="{20446483-3131-45C6-9B63-8672E75978B6}">
      <dgm:prSet custT="1"/>
      <dgm:spPr/>
      <dgm:t>
        <a:bodyPr/>
        <a:lstStyle/>
        <a:p>
          <a:endParaRPr lang="nl-NL" sz="900"/>
        </a:p>
      </dgm:t>
    </dgm:pt>
    <dgm:pt modelId="{C592FC82-2CCB-41D1-AB19-C1027B3220DC}" type="parTrans" cxnId="{6AC51181-18CA-4071-8671-E723CB2F83E3}">
      <dgm:prSet/>
      <dgm:spPr/>
      <dgm:t>
        <a:bodyPr/>
        <a:lstStyle/>
        <a:p>
          <a:endParaRPr lang="nl-NL" sz="1000"/>
        </a:p>
      </dgm:t>
    </dgm:pt>
    <dgm:pt modelId="{744972D6-F7F9-4325-9F4B-A70060987F27}" type="sibTrans" cxnId="{6AC51181-18CA-4071-8671-E723CB2F83E3}">
      <dgm:prSet/>
      <dgm:spPr/>
      <dgm:t>
        <a:bodyPr/>
        <a:lstStyle/>
        <a:p>
          <a:endParaRPr lang="nl-NL" sz="1000"/>
        </a:p>
      </dgm:t>
    </dgm:pt>
    <dgm:pt modelId="{6CE1A86C-5E74-4ADB-95CE-83D1024B8A1B}">
      <dgm:prSet custT="1"/>
      <dgm:spPr/>
      <dgm:t>
        <a:bodyPr/>
        <a:lstStyle/>
        <a:p>
          <a:r>
            <a:rPr lang="nl-NL" sz="900"/>
            <a:t>Data </a:t>
          </a:r>
          <a:r>
            <a:rPr lang="nl-NL" sz="900" err="1"/>
            <a:t>lake</a:t>
          </a:r>
          <a:r>
            <a:rPr lang="nl-NL" sz="900"/>
            <a:t> implementeren</a:t>
          </a:r>
        </a:p>
      </dgm:t>
    </dgm:pt>
    <dgm:pt modelId="{E68E1A5A-6E88-458A-8CB9-F2B234C35568}" type="parTrans" cxnId="{20E0196F-EDD9-474A-9FAF-DF8543639C6C}">
      <dgm:prSet/>
      <dgm:spPr/>
      <dgm:t>
        <a:bodyPr/>
        <a:lstStyle/>
        <a:p>
          <a:endParaRPr lang="nl-NL" sz="1000"/>
        </a:p>
      </dgm:t>
    </dgm:pt>
    <dgm:pt modelId="{CCAC4F14-E3B3-4CA3-9BF7-C73D5E00EE32}" type="sibTrans" cxnId="{20E0196F-EDD9-474A-9FAF-DF8543639C6C}">
      <dgm:prSet/>
      <dgm:spPr/>
      <dgm:t>
        <a:bodyPr/>
        <a:lstStyle/>
        <a:p>
          <a:endParaRPr lang="nl-NL" sz="1000"/>
        </a:p>
      </dgm:t>
    </dgm:pt>
    <dgm:pt modelId="{66E39E7D-DC2E-4284-993D-AFD4E5E98986}">
      <dgm:prSet custT="1"/>
      <dgm:spPr/>
      <dgm:t>
        <a:bodyPr/>
        <a:lstStyle/>
        <a:p>
          <a:r>
            <a:rPr lang="nl-NL" sz="900"/>
            <a:t>Vervolgstappen op basis van visie op data</a:t>
          </a:r>
        </a:p>
      </dgm:t>
    </dgm:pt>
    <dgm:pt modelId="{D2917CAC-F82A-46EF-A20B-2F4A2F94E9FF}" type="parTrans" cxnId="{7B088858-B74C-43E2-9BE5-068D5D9E1AEB}">
      <dgm:prSet/>
      <dgm:spPr/>
      <dgm:t>
        <a:bodyPr/>
        <a:lstStyle/>
        <a:p>
          <a:endParaRPr lang="nl-NL" sz="1000"/>
        </a:p>
      </dgm:t>
    </dgm:pt>
    <dgm:pt modelId="{57835AF8-C1FC-4BCA-8913-7836892EA37D}" type="sibTrans" cxnId="{7B088858-B74C-43E2-9BE5-068D5D9E1AEB}">
      <dgm:prSet/>
      <dgm:spPr/>
      <dgm:t>
        <a:bodyPr/>
        <a:lstStyle/>
        <a:p>
          <a:endParaRPr lang="nl-NL" sz="1000"/>
        </a:p>
      </dgm:t>
    </dgm:pt>
    <dgm:pt modelId="{82B4419E-EA02-41F8-8851-D338BCF00BF0}">
      <dgm:prSet custT="1"/>
      <dgm:spPr/>
      <dgm:t>
        <a:bodyPr/>
        <a:lstStyle/>
        <a:p>
          <a:r>
            <a:rPr lang="nl-NL" sz="900"/>
            <a:t>Process mining inzetten om processen te verbeteren</a:t>
          </a:r>
        </a:p>
      </dgm:t>
    </dgm:pt>
    <dgm:pt modelId="{7A7B7C56-B4C7-4671-B013-0CA3A660B3FD}" type="parTrans" cxnId="{1E19AF31-A63C-4F46-B482-F715C1BB40D5}">
      <dgm:prSet/>
      <dgm:spPr/>
      <dgm:t>
        <a:bodyPr/>
        <a:lstStyle/>
        <a:p>
          <a:endParaRPr lang="nl-NL" sz="1000"/>
        </a:p>
      </dgm:t>
    </dgm:pt>
    <dgm:pt modelId="{90965BCE-1684-471D-AE9E-22ADC4D55E40}" type="sibTrans" cxnId="{1E19AF31-A63C-4F46-B482-F715C1BB40D5}">
      <dgm:prSet/>
      <dgm:spPr/>
      <dgm:t>
        <a:bodyPr/>
        <a:lstStyle/>
        <a:p>
          <a:endParaRPr lang="nl-NL" sz="1000"/>
        </a:p>
      </dgm:t>
    </dgm:pt>
    <dgm:pt modelId="{151429BB-703C-4837-AEAE-FB6E3DE6D505}">
      <dgm:prSet custT="1"/>
      <dgm:spPr/>
      <dgm:t>
        <a:bodyPr/>
        <a:lstStyle/>
        <a:p>
          <a:r>
            <a:rPr lang="nl-NL" sz="900"/>
            <a:t>‘Nieuwe data’ is voor 99% betrouwbaar en de 1% onbetrouwbaar is bekend.</a:t>
          </a:r>
        </a:p>
      </dgm:t>
    </dgm:pt>
    <dgm:pt modelId="{CE2A0741-45C2-4BEA-BD64-023BC7622332}" type="parTrans" cxnId="{8F30F11D-E87C-429F-A3B7-14360FA410AD}">
      <dgm:prSet/>
      <dgm:spPr/>
      <dgm:t>
        <a:bodyPr/>
        <a:lstStyle/>
        <a:p>
          <a:endParaRPr lang="nl-NL" sz="1000"/>
        </a:p>
      </dgm:t>
    </dgm:pt>
    <dgm:pt modelId="{31B627E5-D5DC-4932-8CC6-E7930B6676D9}" type="sibTrans" cxnId="{8F30F11D-E87C-429F-A3B7-14360FA410AD}">
      <dgm:prSet/>
      <dgm:spPr/>
      <dgm:t>
        <a:bodyPr/>
        <a:lstStyle/>
        <a:p>
          <a:endParaRPr lang="nl-NL" sz="1000"/>
        </a:p>
      </dgm:t>
    </dgm:pt>
    <dgm:pt modelId="{4E20D29C-B6C9-440B-AFF3-AEF13A3A4C36}">
      <dgm:prSet custT="1"/>
      <dgm:spPr/>
      <dgm:t>
        <a:bodyPr/>
        <a:lstStyle/>
        <a:p>
          <a:endParaRPr lang="nl-NL" sz="900"/>
        </a:p>
      </dgm:t>
    </dgm:pt>
    <dgm:pt modelId="{0AC3526D-14AD-4864-BC54-CA2EC525943F}" type="parTrans" cxnId="{20329975-211D-4A3A-8C0F-DD54C84AD3BD}">
      <dgm:prSet/>
      <dgm:spPr/>
      <dgm:t>
        <a:bodyPr/>
        <a:lstStyle/>
        <a:p>
          <a:endParaRPr lang="nl-NL" sz="1000"/>
        </a:p>
      </dgm:t>
    </dgm:pt>
    <dgm:pt modelId="{18736C93-2A1D-4F22-8952-5A44ED9B99A1}" type="sibTrans" cxnId="{20329975-211D-4A3A-8C0F-DD54C84AD3BD}">
      <dgm:prSet/>
      <dgm:spPr/>
      <dgm:t>
        <a:bodyPr/>
        <a:lstStyle/>
        <a:p>
          <a:endParaRPr lang="nl-NL" sz="1000"/>
        </a:p>
      </dgm:t>
    </dgm:pt>
    <dgm:pt modelId="{AA8DBEC3-5730-473F-B244-820415D3B97D}">
      <dgm:prSet custT="1"/>
      <dgm:spPr/>
      <dgm:t>
        <a:bodyPr/>
        <a:lstStyle/>
        <a:p>
          <a:r>
            <a:rPr lang="nl-NL" sz="900"/>
            <a:t>Datavirtualisatie implementeren</a:t>
          </a:r>
        </a:p>
      </dgm:t>
    </dgm:pt>
    <dgm:pt modelId="{FF21C5BA-C31C-4EE9-8435-9F3E74196BB2}" type="parTrans" cxnId="{A19ED3F0-D3F5-4544-A864-F0CB4CCF69B9}">
      <dgm:prSet/>
      <dgm:spPr/>
      <dgm:t>
        <a:bodyPr/>
        <a:lstStyle/>
        <a:p>
          <a:endParaRPr lang="nl-NL" sz="1000"/>
        </a:p>
      </dgm:t>
    </dgm:pt>
    <dgm:pt modelId="{016D74AE-0885-463A-8830-0E4EE253A780}" type="sibTrans" cxnId="{A19ED3F0-D3F5-4544-A864-F0CB4CCF69B9}">
      <dgm:prSet/>
      <dgm:spPr/>
      <dgm:t>
        <a:bodyPr/>
        <a:lstStyle/>
        <a:p>
          <a:endParaRPr lang="nl-NL" sz="1000"/>
        </a:p>
      </dgm:t>
    </dgm:pt>
    <dgm:pt modelId="{1CEA679C-96CA-460E-AC4E-1582F3BE9109}">
      <dgm:prSet custT="1"/>
      <dgm:spPr>
        <a:solidFill>
          <a:schemeClr val="accent1">
            <a:lumMod val="90000"/>
            <a:alpha val="90000"/>
          </a:schemeClr>
        </a:solidFill>
      </dgm:spPr>
      <dgm:t>
        <a:bodyPr/>
        <a:lstStyle/>
        <a:p>
          <a:r>
            <a:rPr lang="nl-NL" sz="900"/>
            <a:t>Visie op data bepalen</a:t>
          </a:r>
        </a:p>
        <a:p>
          <a:r>
            <a:rPr lang="nl-NL" sz="900"/>
            <a:t>Power BI inrichten</a:t>
          </a:r>
        </a:p>
        <a:p>
          <a:r>
            <a:rPr lang="nl-NL" sz="900"/>
            <a:t>Tweede data scientist aannemen</a:t>
          </a:r>
        </a:p>
      </dgm:t>
    </dgm:pt>
    <dgm:pt modelId="{142C46B5-687D-479B-9E79-40DA7F5DEF44}" type="parTrans" cxnId="{FF888F5F-DB76-4362-9E36-8483708879BB}">
      <dgm:prSet/>
      <dgm:spPr/>
      <dgm:t>
        <a:bodyPr/>
        <a:lstStyle/>
        <a:p>
          <a:endParaRPr lang="nl-NL" sz="1000"/>
        </a:p>
      </dgm:t>
    </dgm:pt>
    <dgm:pt modelId="{6F495585-C16D-46B3-BD6D-CD5560F9DB86}" type="sibTrans" cxnId="{FF888F5F-DB76-4362-9E36-8483708879BB}">
      <dgm:prSet/>
      <dgm:spPr/>
      <dgm:t>
        <a:bodyPr/>
        <a:lstStyle/>
        <a:p>
          <a:endParaRPr lang="nl-NL" sz="1000"/>
        </a:p>
      </dgm:t>
    </dgm:pt>
    <dgm:pt modelId="{9A17E9D9-E8F2-4A3D-B3C2-0BF77FF6D42E}">
      <dgm:prSet custT="1"/>
      <dgm:spPr/>
      <dgm:t>
        <a:bodyPr/>
        <a:lstStyle/>
        <a:p>
          <a:r>
            <a:rPr lang="nl-NL" sz="900"/>
            <a:t>Vervolgstappen op basis van visie op data</a:t>
          </a:r>
        </a:p>
      </dgm:t>
    </dgm:pt>
    <dgm:pt modelId="{1E3B8620-2598-4AD1-B142-4BF992FCC7D5}" type="parTrans" cxnId="{7BFCD170-6D7A-4815-B43E-FC0D2CF65DDA}">
      <dgm:prSet/>
      <dgm:spPr/>
      <dgm:t>
        <a:bodyPr/>
        <a:lstStyle/>
        <a:p>
          <a:endParaRPr lang="nl-NL" sz="1000"/>
        </a:p>
      </dgm:t>
    </dgm:pt>
    <dgm:pt modelId="{E69B4927-D436-46DC-B02B-BBE2B2FB337F}" type="sibTrans" cxnId="{7BFCD170-6D7A-4815-B43E-FC0D2CF65DDA}">
      <dgm:prSet/>
      <dgm:spPr/>
      <dgm:t>
        <a:bodyPr/>
        <a:lstStyle/>
        <a:p>
          <a:endParaRPr lang="nl-NL" sz="1000"/>
        </a:p>
      </dgm:t>
    </dgm:pt>
    <dgm:pt modelId="{7EDDC5A2-9A6F-4101-B5CB-77EDED0EB09F}">
      <dgm:prSet custT="1"/>
      <dgm:spPr/>
      <dgm:t>
        <a:bodyPr/>
        <a:lstStyle/>
        <a:p>
          <a:r>
            <a:rPr lang="nl-NL" sz="900"/>
            <a:t>Vervolgstappen op basis van visie op data</a:t>
          </a:r>
        </a:p>
      </dgm:t>
    </dgm:pt>
    <dgm:pt modelId="{994A2668-1209-4FF4-84C6-EBEFEE5719F7}" type="parTrans" cxnId="{3C475407-F480-4626-964A-7BA9A53E8463}">
      <dgm:prSet/>
      <dgm:spPr/>
      <dgm:t>
        <a:bodyPr/>
        <a:lstStyle/>
        <a:p>
          <a:endParaRPr lang="nl-NL" sz="1000"/>
        </a:p>
      </dgm:t>
    </dgm:pt>
    <dgm:pt modelId="{6F48EEA3-B2B6-4574-A8AF-5F75DE2E1693}" type="sibTrans" cxnId="{3C475407-F480-4626-964A-7BA9A53E8463}">
      <dgm:prSet/>
      <dgm:spPr/>
      <dgm:t>
        <a:bodyPr/>
        <a:lstStyle/>
        <a:p>
          <a:endParaRPr lang="nl-NL" sz="1000"/>
        </a:p>
      </dgm:t>
    </dgm:pt>
    <dgm:pt modelId="{1DE78E1A-287A-4644-911E-2C3E7FDD395B}" type="pres">
      <dgm:prSet presAssocID="{A4C25754-AF2E-445A-B1C4-208C361E3027}" presName="Name0" presStyleCnt="0">
        <dgm:presLayoutVars>
          <dgm:chPref val="3"/>
          <dgm:dir/>
          <dgm:animLvl val="lvl"/>
          <dgm:resizeHandles/>
        </dgm:presLayoutVars>
      </dgm:prSet>
      <dgm:spPr/>
      <dgm:t>
        <a:bodyPr/>
        <a:lstStyle/>
        <a:p>
          <a:endParaRPr lang="nl-NL"/>
        </a:p>
      </dgm:t>
    </dgm:pt>
    <dgm:pt modelId="{1A84AAE2-0808-451B-B00F-51978064A56A}" type="pres">
      <dgm:prSet presAssocID="{647DD7A5-0012-436B-BAB9-BDE52DC25B90}" presName="horFlow" presStyleCnt="0"/>
      <dgm:spPr/>
    </dgm:pt>
    <dgm:pt modelId="{F6E04653-AC57-46CE-A503-3CBBAD1D7D39}" type="pres">
      <dgm:prSet presAssocID="{647DD7A5-0012-436B-BAB9-BDE52DC25B90}" presName="bigChev" presStyleLbl="node1" presStyleIdx="0" presStyleCnt="4" custScaleX="84206"/>
      <dgm:spPr/>
      <dgm:t>
        <a:bodyPr/>
        <a:lstStyle/>
        <a:p>
          <a:endParaRPr lang="nl-NL"/>
        </a:p>
      </dgm:t>
    </dgm:pt>
    <dgm:pt modelId="{2FD405EF-9A12-4113-837F-4235A9C8BCDF}" type="pres">
      <dgm:prSet presAssocID="{583416F9-FBC6-4C82-8614-951CEE12CD70}" presName="parTrans" presStyleCnt="0"/>
      <dgm:spPr/>
    </dgm:pt>
    <dgm:pt modelId="{9E6C8AC0-5D21-43F3-83C4-CC1B7203E690}" type="pres">
      <dgm:prSet presAssocID="{6D8F2393-DBD3-466D-BB9D-AE10062D1E45}" presName="node" presStyleLbl="alignAccFollowNode1" presStyleIdx="0" presStyleCnt="20" custScaleX="119879" custScaleY="120095">
        <dgm:presLayoutVars>
          <dgm:bulletEnabled val="1"/>
        </dgm:presLayoutVars>
      </dgm:prSet>
      <dgm:spPr/>
      <dgm:t>
        <a:bodyPr/>
        <a:lstStyle/>
        <a:p>
          <a:endParaRPr lang="nl-NL"/>
        </a:p>
      </dgm:t>
    </dgm:pt>
    <dgm:pt modelId="{12437B27-DC93-4BD7-BC2C-B48051EB2B27}" type="pres">
      <dgm:prSet presAssocID="{03DE5228-1E63-4C54-9AE4-3B883B2F1DBA}" presName="sibTrans" presStyleCnt="0"/>
      <dgm:spPr/>
    </dgm:pt>
    <dgm:pt modelId="{5F155100-7715-4A17-90EE-690DB2345E60}" type="pres">
      <dgm:prSet presAssocID="{545954EC-4953-467F-8E27-933BAB5A8E05}" presName="node" presStyleLbl="alignAccFollowNode1" presStyleIdx="1" presStyleCnt="20" custScaleX="119879" custScaleY="120096">
        <dgm:presLayoutVars>
          <dgm:bulletEnabled val="1"/>
        </dgm:presLayoutVars>
      </dgm:prSet>
      <dgm:spPr/>
      <dgm:t>
        <a:bodyPr/>
        <a:lstStyle/>
        <a:p>
          <a:endParaRPr lang="nl-NL"/>
        </a:p>
      </dgm:t>
    </dgm:pt>
    <dgm:pt modelId="{556E6604-75C8-47B9-8F4D-7B0C112FFCB2}" type="pres">
      <dgm:prSet presAssocID="{3195B29B-0B9A-47B3-B2F4-4FDC8876F8E7}" presName="sibTrans" presStyleCnt="0"/>
      <dgm:spPr/>
    </dgm:pt>
    <dgm:pt modelId="{7BCA09AF-73D2-4619-A7A7-F58A620080A0}" type="pres">
      <dgm:prSet presAssocID="{0EEE7DE5-2B00-458B-BCAB-CB504BAD12E7}" presName="node" presStyleLbl="alignAccFollowNode1" presStyleIdx="2" presStyleCnt="20" custScaleX="119879" custScaleY="120096">
        <dgm:presLayoutVars>
          <dgm:bulletEnabled val="1"/>
        </dgm:presLayoutVars>
      </dgm:prSet>
      <dgm:spPr/>
      <dgm:t>
        <a:bodyPr/>
        <a:lstStyle/>
        <a:p>
          <a:endParaRPr lang="nl-NL"/>
        </a:p>
      </dgm:t>
    </dgm:pt>
    <dgm:pt modelId="{6993564F-6DB6-4935-B3A0-CE9427733D38}" type="pres">
      <dgm:prSet presAssocID="{9F4A5B04-0051-4F5D-9849-79FF15B78EF0}" presName="sibTrans" presStyleCnt="0"/>
      <dgm:spPr/>
    </dgm:pt>
    <dgm:pt modelId="{6F58A52D-AFF9-49F5-8538-1AB9A54C1571}" type="pres">
      <dgm:prSet presAssocID="{1F00858C-756E-438F-ACFC-655C02058CEA}" presName="node" presStyleLbl="alignAccFollowNode1" presStyleIdx="3" presStyleCnt="20" custScaleX="119879" custScaleY="120096">
        <dgm:presLayoutVars>
          <dgm:bulletEnabled val="1"/>
        </dgm:presLayoutVars>
      </dgm:prSet>
      <dgm:spPr/>
      <dgm:t>
        <a:bodyPr/>
        <a:lstStyle/>
        <a:p>
          <a:endParaRPr lang="nl-NL"/>
        </a:p>
      </dgm:t>
    </dgm:pt>
    <dgm:pt modelId="{26A65A6A-FEA9-4FF4-AB74-E96C5C5FD924}" type="pres">
      <dgm:prSet presAssocID="{E87351C3-C3F4-4BF9-BC9D-FD82FB04DFC6}" presName="sibTrans" presStyleCnt="0"/>
      <dgm:spPr/>
    </dgm:pt>
    <dgm:pt modelId="{9DA68F1C-8A13-4764-9EED-8C5C1AC113E6}" type="pres">
      <dgm:prSet presAssocID="{2B87F55F-3DDA-4DB8-85DC-69C630658C4A}" presName="node" presStyleLbl="alignAccFollowNode1" presStyleIdx="4" presStyleCnt="20" custScaleX="119879" custScaleY="120096">
        <dgm:presLayoutVars>
          <dgm:bulletEnabled val="1"/>
        </dgm:presLayoutVars>
      </dgm:prSet>
      <dgm:spPr/>
      <dgm:t>
        <a:bodyPr/>
        <a:lstStyle/>
        <a:p>
          <a:endParaRPr lang="nl-NL"/>
        </a:p>
      </dgm:t>
    </dgm:pt>
    <dgm:pt modelId="{0D952C92-7C21-4671-AE94-64DCC08CB47C}" type="pres">
      <dgm:prSet presAssocID="{647DD7A5-0012-436B-BAB9-BDE52DC25B90}" presName="vSp" presStyleCnt="0"/>
      <dgm:spPr/>
    </dgm:pt>
    <dgm:pt modelId="{FED88096-892B-4EC2-9E54-1AC122C68345}" type="pres">
      <dgm:prSet presAssocID="{22C9BA16-C912-4AB8-B16E-FF797935FE95}" presName="horFlow" presStyleCnt="0"/>
      <dgm:spPr/>
    </dgm:pt>
    <dgm:pt modelId="{45A1425D-2946-43E1-B1EC-77043B192449}" type="pres">
      <dgm:prSet presAssocID="{22C9BA16-C912-4AB8-B16E-FF797935FE95}" presName="bigChev" presStyleLbl="node1" presStyleIdx="1" presStyleCnt="4" custScaleX="84206"/>
      <dgm:spPr/>
      <dgm:t>
        <a:bodyPr/>
        <a:lstStyle/>
        <a:p>
          <a:endParaRPr lang="nl-NL"/>
        </a:p>
      </dgm:t>
    </dgm:pt>
    <dgm:pt modelId="{6EDFC9BE-7488-47C8-9C6B-A9C6D1E82C02}" type="pres">
      <dgm:prSet presAssocID="{7C76C83D-CE5B-4D7C-AD83-B4E39CEEF00A}" presName="parTrans" presStyleCnt="0"/>
      <dgm:spPr/>
    </dgm:pt>
    <dgm:pt modelId="{050DB05E-783F-4CCF-9747-F95A7E32D478}" type="pres">
      <dgm:prSet presAssocID="{17FA8828-52A2-4AF5-B391-AB85135831D1}" presName="node" presStyleLbl="alignAccFollowNode1" presStyleIdx="5" presStyleCnt="20" custScaleX="119879" custScaleY="120095">
        <dgm:presLayoutVars>
          <dgm:bulletEnabled val="1"/>
        </dgm:presLayoutVars>
      </dgm:prSet>
      <dgm:spPr/>
      <dgm:t>
        <a:bodyPr/>
        <a:lstStyle/>
        <a:p>
          <a:endParaRPr lang="nl-NL"/>
        </a:p>
      </dgm:t>
    </dgm:pt>
    <dgm:pt modelId="{3F8234F6-BDB0-48B1-8C45-48C899BF167B}" type="pres">
      <dgm:prSet presAssocID="{5831FBD0-5DF6-4737-9D40-31BD670C5784}" presName="sibTrans" presStyleCnt="0"/>
      <dgm:spPr/>
    </dgm:pt>
    <dgm:pt modelId="{EE523708-1E1B-4AAA-A918-8F0DB46124F9}" type="pres">
      <dgm:prSet presAssocID="{1C057D00-7046-4C92-8845-E659397CD6FE}" presName="node" presStyleLbl="alignAccFollowNode1" presStyleIdx="6" presStyleCnt="20" custScaleX="119879" custScaleY="120096">
        <dgm:presLayoutVars>
          <dgm:bulletEnabled val="1"/>
        </dgm:presLayoutVars>
      </dgm:prSet>
      <dgm:spPr/>
      <dgm:t>
        <a:bodyPr/>
        <a:lstStyle/>
        <a:p>
          <a:endParaRPr lang="nl-NL"/>
        </a:p>
      </dgm:t>
    </dgm:pt>
    <dgm:pt modelId="{394A353D-2412-4CC3-8B67-F3A0F8C998EB}" type="pres">
      <dgm:prSet presAssocID="{9F92A93D-431C-4D58-AC15-E971BD7417E8}" presName="sibTrans" presStyleCnt="0"/>
      <dgm:spPr/>
    </dgm:pt>
    <dgm:pt modelId="{87B307EE-F7E3-478C-99DF-363D7920F82C}" type="pres">
      <dgm:prSet presAssocID="{151429BB-703C-4837-AEAE-FB6E3DE6D505}" presName="node" presStyleLbl="alignAccFollowNode1" presStyleIdx="7" presStyleCnt="20" custScaleX="119879" custScaleY="120096">
        <dgm:presLayoutVars>
          <dgm:bulletEnabled val="1"/>
        </dgm:presLayoutVars>
      </dgm:prSet>
      <dgm:spPr/>
      <dgm:t>
        <a:bodyPr/>
        <a:lstStyle/>
        <a:p>
          <a:endParaRPr lang="nl-NL"/>
        </a:p>
      </dgm:t>
    </dgm:pt>
    <dgm:pt modelId="{1F7177C5-C327-4167-AB92-530115D8A37A}" type="pres">
      <dgm:prSet presAssocID="{31B627E5-D5DC-4932-8CC6-E7930B6676D9}" presName="sibTrans" presStyleCnt="0"/>
      <dgm:spPr/>
    </dgm:pt>
    <dgm:pt modelId="{CED8139D-1618-489C-91A6-6B435D2A051E}" type="pres">
      <dgm:prSet presAssocID="{746BBA83-FC51-4B44-8C3D-F93ACED5A830}" presName="node" presStyleLbl="alignAccFollowNode1" presStyleIdx="8" presStyleCnt="20" custScaleX="119879" custScaleY="120096">
        <dgm:presLayoutVars>
          <dgm:bulletEnabled val="1"/>
        </dgm:presLayoutVars>
      </dgm:prSet>
      <dgm:spPr/>
      <dgm:t>
        <a:bodyPr/>
        <a:lstStyle/>
        <a:p>
          <a:endParaRPr lang="nl-NL"/>
        </a:p>
      </dgm:t>
    </dgm:pt>
    <dgm:pt modelId="{232C0BA6-DDAE-4F0C-A30C-002BE01369D9}" type="pres">
      <dgm:prSet presAssocID="{645A86AD-7CFE-406C-A490-80E89BBD3A4A}" presName="sibTrans" presStyleCnt="0"/>
      <dgm:spPr/>
    </dgm:pt>
    <dgm:pt modelId="{76A59E32-1369-43F3-BA20-12EAEE339E49}" type="pres">
      <dgm:prSet presAssocID="{20446483-3131-45C6-9B63-8672E75978B6}" presName="node" presStyleLbl="alignAccFollowNode1" presStyleIdx="9" presStyleCnt="20" custScaleX="119879" custScaleY="120096">
        <dgm:presLayoutVars>
          <dgm:bulletEnabled val="1"/>
        </dgm:presLayoutVars>
      </dgm:prSet>
      <dgm:spPr/>
      <dgm:t>
        <a:bodyPr/>
        <a:lstStyle/>
        <a:p>
          <a:endParaRPr lang="nl-NL"/>
        </a:p>
      </dgm:t>
    </dgm:pt>
    <dgm:pt modelId="{91A9BBBC-E226-44ED-B966-18A36F466E5B}" type="pres">
      <dgm:prSet presAssocID="{22C9BA16-C912-4AB8-B16E-FF797935FE95}" presName="vSp" presStyleCnt="0"/>
      <dgm:spPr/>
    </dgm:pt>
    <dgm:pt modelId="{DAD2B607-B187-469D-B28A-EE687D766071}" type="pres">
      <dgm:prSet presAssocID="{1D0431D3-64B3-4A2A-BC98-318609876B89}" presName="horFlow" presStyleCnt="0"/>
      <dgm:spPr/>
    </dgm:pt>
    <dgm:pt modelId="{AC514612-8832-4B0F-86D0-3200CCE54AE0}" type="pres">
      <dgm:prSet presAssocID="{1D0431D3-64B3-4A2A-BC98-318609876B89}" presName="bigChev" presStyleLbl="node1" presStyleIdx="2" presStyleCnt="4" custScaleX="84206"/>
      <dgm:spPr/>
      <dgm:t>
        <a:bodyPr/>
        <a:lstStyle/>
        <a:p>
          <a:endParaRPr lang="nl-NL"/>
        </a:p>
      </dgm:t>
    </dgm:pt>
    <dgm:pt modelId="{71A396D0-074E-437B-B2EF-A0B34E0BE7F7}" type="pres">
      <dgm:prSet presAssocID="{7BCAD824-9F6C-4E51-8307-99177976A87F}" presName="parTrans" presStyleCnt="0"/>
      <dgm:spPr/>
    </dgm:pt>
    <dgm:pt modelId="{F6BDEFCB-7EF5-4C67-9CC3-C8A5F8837BEC}" type="pres">
      <dgm:prSet presAssocID="{C0C666D5-C6AE-48A4-8BEB-1E0B4423CC7F}" presName="node" presStyleLbl="alignAccFollowNode1" presStyleIdx="10" presStyleCnt="20" custScaleX="119879" custScaleY="120095">
        <dgm:presLayoutVars>
          <dgm:bulletEnabled val="1"/>
        </dgm:presLayoutVars>
      </dgm:prSet>
      <dgm:spPr/>
      <dgm:t>
        <a:bodyPr/>
        <a:lstStyle/>
        <a:p>
          <a:endParaRPr lang="nl-NL"/>
        </a:p>
      </dgm:t>
    </dgm:pt>
    <dgm:pt modelId="{AB380205-9165-48BE-90AF-1D37155F4626}" type="pres">
      <dgm:prSet presAssocID="{DEFB9FE7-85F7-46CA-BCD3-991BFEB6948F}" presName="sibTrans" presStyleCnt="0"/>
      <dgm:spPr/>
    </dgm:pt>
    <dgm:pt modelId="{58186B43-07B2-485C-BAFC-A38A2D2CA252}" type="pres">
      <dgm:prSet presAssocID="{1DD1AC1D-B569-457A-ABD8-ECBDB05C5B6B}" presName="node" presStyleLbl="alignAccFollowNode1" presStyleIdx="11" presStyleCnt="20" custScaleX="119879" custScaleY="120096">
        <dgm:presLayoutVars>
          <dgm:bulletEnabled val="1"/>
        </dgm:presLayoutVars>
      </dgm:prSet>
      <dgm:spPr/>
      <dgm:t>
        <a:bodyPr/>
        <a:lstStyle/>
        <a:p>
          <a:endParaRPr lang="nl-NL"/>
        </a:p>
      </dgm:t>
    </dgm:pt>
    <dgm:pt modelId="{7D78B4A9-2CA2-46A7-9724-90A84F6E3D1B}" type="pres">
      <dgm:prSet presAssocID="{B22F1A8F-FD9D-4176-86A1-F295A23BFA9F}" presName="sibTrans" presStyleCnt="0"/>
      <dgm:spPr/>
    </dgm:pt>
    <dgm:pt modelId="{0147A711-EAE7-444C-88B2-0E0CB88E6274}" type="pres">
      <dgm:prSet presAssocID="{4E20D29C-B6C9-440B-AFF3-AEF13A3A4C36}" presName="node" presStyleLbl="alignAccFollowNode1" presStyleIdx="12" presStyleCnt="20" custScaleX="119879" custScaleY="120096">
        <dgm:presLayoutVars>
          <dgm:bulletEnabled val="1"/>
        </dgm:presLayoutVars>
      </dgm:prSet>
      <dgm:spPr/>
      <dgm:t>
        <a:bodyPr/>
        <a:lstStyle/>
        <a:p>
          <a:endParaRPr lang="nl-NL"/>
        </a:p>
      </dgm:t>
    </dgm:pt>
    <dgm:pt modelId="{83242370-A8A0-49D9-8F01-B0DBCCE9E329}" type="pres">
      <dgm:prSet presAssocID="{18736C93-2A1D-4F22-8952-5A44ED9B99A1}" presName="sibTrans" presStyleCnt="0"/>
      <dgm:spPr/>
    </dgm:pt>
    <dgm:pt modelId="{9FA528D7-26AC-4E04-B14F-E0155359DB2B}" type="pres">
      <dgm:prSet presAssocID="{AA8DBEC3-5730-473F-B244-820415D3B97D}" presName="node" presStyleLbl="alignAccFollowNode1" presStyleIdx="13" presStyleCnt="20" custScaleX="119879" custScaleY="120096">
        <dgm:presLayoutVars>
          <dgm:bulletEnabled val="1"/>
        </dgm:presLayoutVars>
      </dgm:prSet>
      <dgm:spPr/>
      <dgm:t>
        <a:bodyPr/>
        <a:lstStyle/>
        <a:p>
          <a:endParaRPr lang="nl-NL"/>
        </a:p>
      </dgm:t>
    </dgm:pt>
    <dgm:pt modelId="{830719E3-B039-41C3-82E1-9E3518710380}" type="pres">
      <dgm:prSet presAssocID="{016D74AE-0885-463A-8830-0E4EE253A780}" presName="sibTrans" presStyleCnt="0"/>
      <dgm:spPr/>
    </dgm:pt>
    <dgm:pt modelId="{6E216FF8-2780-4ABE-969B-CDD8F6583DDC}" type="pres">
      <dgm:prSet presAssocID="{6CE1A86C-5E74-4ADB-95CE-83D1024B8A1B}" presName="node" presStyleLbl="alignAccFollowNode1" presStyleIdx="14" presStyleCnt="20" custScaleX="119879" custScaleY="120096">
        <dgm:presLayoutVars>
          <dgm:bulletEnabled val="1"/>
        </dgm:presLayoutVars>
      </dgm:prSet>
      <dgm:spPr/>
      <dgm:t>
        <a:bodyPr/>
        <a:lstStyle/>
        <a:p>
          <a:endParaRPr lang="nl-NL"/>
        </a:p>
      </dgm:t>
    </dgm:pt>
    <dgm:pt modelId="{8666EA12-234D-4CB4-8E75-0C81F718C0A9}" type="pres">
      <dgm:prSet presAssocID="{1D0431D3-64B3-4A2A-BC98-318609876B89}" presName="vSp" presStyleCnt="0"/>
      <dgm:spPr/>
    </dgm:pt>
    <dgm:pt modelId="{0D0AE263-B1EA-44DD-9FE2-9CAC606D6FC5}" type="pres">
      <dgm:prSet presAssocID="{23193460-2B00-4BBA-B2EF-55CC2B44251D}" presName="horFlow" presStyleCnt="0"/>
      <dgm:spPr/>
    </dgm:pt>
    <dgm:pt modelId="{01295B02-5629-4790-BB4D-A7650C590746}" type="pres">
      <dgm:prSet presAssocID="{23193460-2B00-4BBA-B2EF-55CC2B44251D}" presName="bigChev" presStyleLbl="node1" presStyleIdx="3" presStyleCnt="4" custScaleX="84206"/>
      <dgm:spPr/>
      <dgm:t>
        <a:bodyPr/>
        <a:lstStyle/>
        <a:p>
          <a:endParaRPr lang="nl-NL"/>
        </a:p>
      </dgm:t>
    </dgm:pt>
    <dgm:pt modelId="{A75BC414-AEA6-434B-B674-287E649E0B5D}" type="pres">
      <dgm:prSet presAssocID="{142C46B5-687D-479B-9E79-40DA7F5DEF44}" presName="parTrans" presStyleCnt="0"/>
      <dgm:spPr/>
    </dgm:pt>
    <dgm:pt modelId="{6EF753EC-17CD-46A6-81D5-6C737C6C4D8F}" type="pres">
      <dgm:prSet presAssocID="{1CEA679C-96CA-460E-AC4E-1582F3BE9109}" presName="node" presStyleLbl="alignAccFollowNode1" presStyleIdx="15" presStyleCnt="20" custScaleX="119879" custScaleY="120095">
        <dgm:presLayoutVars>
          <dgm:bulletEnabled val="1"/>
        </dgm:presLayoutVars>
      </dgm:prSet>
      <dgm:spPr/>
      <dgm:t>
        <a:bodyPr/>
        <a:lstStyle/>
        <a:p>
          <a:endParaRPr lang="nl-NL"/>
        </a:p>
      </dgm:t>
    </dgm:pt>
    <dgm:pt modelId="{F90259C5-94CE-4646-9BBB-9D77BAFCC246}" type="pres">
      <dgm:prSet presAssocID="{6F495585-C16D-46B3-BD6D-CD5560F9DB86}" presName="sibTrans" presStyleCnt="0"/>
      <dgm:spPr/>
    </dgm:pt>
    <dgm:pt modelId="{63D44174-705A-471D-8957-98F128C02313}" type="pres">
      <dgm:prSet presAssocID="{9A17E9D9-E8F2-4A3D-B3C2-0BF77FF6D42E}" presName="node" presStyleLbl="alignAccFollowNode1" presStyleIdx="16" presStyleCnt="20" custScaleX="119879" custScaleY="120096">
        <dgm:presLayoutVars>
          <dgm:bulletEnabled val="1"/>
        </dgm:presLayoutVars>
      </dgm:prSet>
      <dgm:spPr/>
      <dgm:t>
        <a:bodyPr/>
        <a:lstStyle/>
        <a:p>
          <a:endParaRPr lang="nl-NL"/>
        </a:p>
      </dgm:t>
    </dgm:pt>
    <dgm:pt modelId="{F97E5AF9-947E-4CC6-9073-F777788D2625}" type="pres">
      <dgm:prSet presAssocID="{E69B4927-D436-46DC-B02B-BBE2B2FB337F}" presName="sibTrans" presStyleCnt="0"/>
      <dgm:spPr/>
    </dgm:pt>
    <dgm:pt modelId="{A7989C51-1EF4-4500-81D6-6D719DDD68D0}" type="pres">
      <dgm:prSet presAssocID="{7EDDC5A2-9A6F-4101-B5CB-77EDED0EB09F}" presName="node" presStyleLbl="alignAccFollowNode1" presStyleIdx="17" presStyleCnt="20" custScaleX="119879" custScaleY="120096">
        <dgm:presLayoutVars>
          <dgm:bulletEnabled val="1"/>
        </dgm:presLayoutVars>
      </dgm:prSet>
      <dgm:spPr/>
      <dgm:t>
        <a:bodyPr/>
        <a:lstStyle/>
        <a:p>
          <a:endParaRPr lang="nl-NL"/>
        </a:p>
      </dgm:t>
    </dgm:pt>
    <dgm:pt modelId="{49AEC048-1AAE-4592-9445-E9DFA3B4AE30}" type="pres">
      <dgm:prSet presAssocID="{6F48EEA3-B2B6-4574-A8AF-5F75DE2E1693}" presName="sibTrans" presStyleCnt="0"/>
      <dgm:spPr/>
    </dgm:pt>
    <dgm:pt modelId="{A13861A0-3C4D-407A-AD33-595EDBF2F097}" type="pres">
      <dgm:prSet presAssocID="{66E39E7D-DC2E-4284-993D-AFD4E5E98986}" presName="node" presStyleLbl="alignAccFollowNode1" presStyleIdx="18" presStyleCnt="20" custScaleX="119879" custScaleY="120096">
        <dgm:presLayoutVars>
          <dgm:bulletEnabled val="1"/>
        </dgm:presLayoutVars>
      </dgm:prSet>
      <dgm:spPr/>
      <dgm:t>
        <a:bodyPr/>
        <a:lstStyle/>
        <a:p>
          <a:endParaRPr lang="nl-NL"/>
        </a:p>
      </dgm:t>
    </dgm:pt>
    <dgm:pt modelId="{4A81BF62-7FD5-4E20-9909-F9C72ED58289}" type="pres">
      <dgm:prSet presAssocID="{57835AF8-C1FC-4BCA-8913-7836892EA37D}" presName="sibTrans" presStyleCnt="0"/>
      <dgm:spPr/>
    </dgm:pt>
    <dgm:pt modelId="{0EE2C3EC-54D5-48DD-BB5E-1E84B5C6767E}" type="pres">
      <dgm:prSet presAssocID="{82B4419E-EA02-41F8-8851-D338BCF00BF0}" presName="node" presStyleLbl="alignAccFollowNode1" presStyleIdx="19" presStyleCnt="20" custScaleX="119879" custScaleY="120096">
        <dgm:presLayoutVars>
          <dgm:bulletEnabled val="1"/>
        </dgm:presLayoutVars>
      </dgm:prSet>
      <dgm:spPr/>
      <dgm:t>
        <a:bodyPr/>
        <a:lstStyle/>
        <a:p>
          <a:endParaRPr lang="nl-NL"/>
        </a:p>
      </dgm:t>
    </dgm:pt>
  </dgm:ptLst>
  <dgm:cxnLst>
    <dgm:cxn modelId="{5C8C9688-845D-407B-8262-856083BB8B02}" srcId="{22C9BA16-C912-4AB8-B16E-FF797935FE95}" destId="{746BBA83-FC51-4B44-8C3D-F93ACED5A830}" srcOrd="3" destOrd="0" parTransId="{43D31E03-9F7F-4CDB-BA1E-5B60E76E75A0}" sibTransId="{645A86AD-7CFE-406C-A490-80E89BBD3A4A}"/>
    <dgm:cxn modelId="{1E19AF31-A63C-4F46-B482-F715C1BB40D5}" srcId="{23193460-2B00-4BBA-B2EF-55CC2B44251D}" destId="{82B4419E-EA02-41F8-8851-D338BCF00BF0}" srcOrd="4" destOrd="0" parTransId="{7A7B7C56-B4C7-4671-B013-0CA3A660B3FD}" sibTransId="{90965BCE-1684-471D-AE9E-22ADC4D55E40}"/>
    <dgm:cxn modelId="{C244C082-4F01-4C68-ACB6-0E8FA3198B3E}" srcId="{A4C25754-AF2E-445A-B1C4-208C361E3027}" destId="{22C9BA16-C912-4AB8-B16E-FF797935FE95}" srcOrd="1" destOrd="0" parTransId="{93B98DF1-7871-4E1C-BCA9-B7D1E46536EC}" sibTransId="{92090AD9-6C79-48EC-9401-F0B181673841}"/>
    <dgm:cxn modelId="{BC9DE52F-0BB5-4ACB-9274-779AEBE21803}" srcId="{22C9BA16-C912-4AB8-B16E-FF797935FE95}" destId="{1C057D00-7046-4C92-8845-E659397CD6FE}" srcOrd="1" destOrd="0" parTransId="{5CCF2DFA-AA14-4223-93C4-29A2BEE342FE}" sibTransId="{9F92A93D-431C-4D58-AC15-E971BD7417E8}"/>
    <dgm:cxn modelId="{3BB2DC6F-AEAE-401D-A71C-27E6D32EC4FB}" srcId="{1D0431D3-64B3-4A2A-BC98-318609876B89}" destId="{C0C666D5-C6AE-48A4-8BEB-1E0B4423CC7F}" srcOrd="0" destOrd="0" parTransId="{7BCAD824-9F6C-4E51-8307-99177976A87F}" sibTransId="{DEFB9FE7-85F7-46CA-BCD3-991BFEB6948F}"/>
    <dgm:cxn modelId="{5B51B856-66F6-41DE-82D6-D9DAD4791020}" type="presOf" srcId="{66E39E7D-DC2E-4284-993D-AFD4E5E98986}" destId="{A13861A0-3C4D-407A-AD33-595EDBF2F097}" srcOrd="0" destOrd="0" presId="urn:microsoft.com/office/officeart/2005/8/layout/lProcess3"/>
    <dgm:cxn modelId="{9B937BAE-08F9-42AE-AC98-6AD3DC9FA8CB}" srcId="{A4C25754-AF2E-445A-B1C4-208C361E3027}" destId="{23193460-2B00-4BBA-B2EF-55CC2B44251D}" srcOrd="3" destOrd="0" parTransId="{9039EAD3-CDDB-4CC8-A3AF-7A425DFF7FAF}" sibTransId="{B40E2452-A66F-4500-9BFD-26EFE8F1C46C}"/>
    <dgm:cxn modelId="{C94B2CA1-3476-4E29-8D69-CB27642C1C34}" type="presOf" srcId="{23193460-2B00-4BBA-B2EF-55CC2B44251D}" destId="{01295B02-5629-4790-BB4D-A7650C590746}" srcOrd="0" destOrd="0" presId="urn:microsoft.com/office/officeart/2005/8/layout/lProcess3"/>
    <dgm:cxn modelId="{C12D5F15-CE74-4E56-ADAA-04E1C0542A81}" type="presOf" srcId="{1F00858C-756E-438F-ACFC-655C02058CEA}" destId="{6F58A52D-AFF9-49F5-8538-1AB9A54C1571}" srcOrd="0" destOrd="0" presId="urn:microsoft.com/office/officeart/2005/8/layout/lProcess3"/>
    <dgm:cxn modelId="{404349EA-FCFB-4F3A-A6D3-4DA211175043}" type="presOf" srcId="{4E20D29C-B6C9-440B-AFF3-AEF13A3A4C36}" destId="{0147A711-EAE7-444C-88B2-0E0CB88E6274}" srcOrd="0" destOrd="0" presId="urn:microsoft.com/office/officeart/2005/8/layout/lProcess3"/>
    <dgm:cxn modelId="{1116DFBC-7D5F-4A2B-BE9E-6A035578413B}" type="presOf" srcId="{151429BB-703C-4837-AEAE-FB6E3DE6D505}" destId="{87B307EE-F7E3-478C-99DF-363D7920F82C}" srcOrd="0" destOrd="0" presId="urn:microsoft.com/office/officeart/2005/8/layout/lProcess3"/>
    <dgm:cxn modelId="{8F30F11D-E87C-429F-A3B7-14360FA410AD}" srcId="{22C9BA16-C912-4AB8-B16E-FF797935FE95}" destId="{151429BB-703C-4837-AEAE-FB6E3DE6D505}" srcOrd="2" destOrd="0" parTransId="{CE2A0741-45C2-4BEA-BD64-023BC7622332}" sibTransId="{31B627E5-D5DC-4932-8CC6-E7930B6676D9}"/>
    <dgm:cxn modelId="{A19ED3F0-D3F5-4544-A864-F0CB4CCF69B9}" srcId="{1D0431D3-64B3-4A2A-BC98-318609876B89}" destId="{AA8DBEC3-5730-473F-B244-820415D3B97D}" srcOrd="3" destOrd="0" parTransId="{FF21C5BA-C31C-4EE9-8435-9F3E74196BB2}" sibTransId="{016D74AE-0885-463A-8830-0E4EE253A780}"/>
    <dgm:cxn modelId="{7B088858-B74C-43E2-9BE5-068D5D9E1AEB}" srcId="{23193460-2B00-4BBA-B2EF-55CC2B44251D}" destId="{66E39E7D-DC2E-4284-993D-AFD4E5E98986}" srcOrd="3" destOrd="0" parTransId="{D2917CAC-F82A-46EF-A20B-2F4A2F94E9FF}" sibTransId="{57835AF8-C1FC-4BCA-8913-7836892EA37D}"/>
    <dgm:cxn modelId="{20329975-211D-4A3A-8C0F-DD54C84AD3BD}" srcId="{1D0431D3-64B3-4A2A-BC98-318609876B89}" destId="{4E20D29C-B6C9-440B-AFF3-AEF13A3A4C36}" srcOrd="2" destOrd="0" parTransId="{0AC3526D-14AD-4864-BC54-CA2EC525943F}" sibTransId="{18736C93-2A1D-4F22-8952-5A44ED9B99A1}"/>
    <dgm:cxn modelId="{03C42A38-BDB9-4D6B-A478-6FFCEEADCCBC}" srcId="{1D0431D3-64B3-4A2A-BC98-318609876B89}" destId="{1DD1AC1D-B569-457A-ABD8-ECBDB05C5B6B}" srcOrd="1" destOrd="0" parTransId="{E1011E1B-B118-4875-B78A-2BFFE230438F}" sibTransId="{B22F1A8F-FD9D-4176-86A1-F295A23BFA9F}"/>
    <dgm:cxn modelId="{5361ADCC-84BD-4993-85CF-74B06F5D06D1}" type="presOf" srcId="{22C9BA16-C912-4AB8-B16E-FF797935FE95}" destId="{45A1425D-2946-43E1-B1EC-77043B192449}" srcOrd="0" destOrd="0" presId="urn:microsoft.com/office/officeart/2005/8/layout/lProcess3"/>
    <dgm:cxn modelId="{07F00F9A-25EB-48AC-9AB9-F7A1B8DE7412}" type="presOf" srcId="{746BBA83-FC51-4B44-8C3D-F93ACED5A830}" destId="{CED8139D-1618-489C-91A6-6B435D2A051E}" srcOrd="0" destOrd="0" presId="urn:microsoft.com/office/officeart/2005/8/layout/lProcess3"/>
    <dgm:cxn modelId="{3404E993-9AF5-4AC8-A850-E56B79A05D44}" type="presOf" srcId="{1CEA679C-96CA-460E-AC4E-1582F3BE9109}" destId="{6EF753EC-17CD-46A6-81D5-6C737C6C4D8F}" srcOrd="0" destOrd="0" presId="urn:microsoft.com/office/officeart/2005/8/layout/lProcess3"/>
    <dgm:cxn modelId="{988CBE00-9744-4A6E-8BD8-86272E3F764E}" type="presOf" srcId="{1D0431D3-64B3-4A2A-BC98-318609876B89}" destId="{AC514612-8832-4B0F-86D0-3200CCE54AE0}" srcOrd="0" destOrd="0" presId="urn:microsoft.com/office/officeart/2005/8/layout/lProcess3"/>
    <dgm:cxn modelId="{41A7473E-0FAD-4341-A72C-25CA87F1ADE8}" srcId="{647DD7A5-0012-436B-BAB9-BDE52DC25B90}" destId="{0EEE7DE5-2B00-458B-BCAB-CB504BAD12E7}" srcOrd="2" destOrd="0" parTransId="{BE541403-E310-4737-9C4F-EFF537A3BC21}" sibTransId="{9F4A5B04-0051-4F5D-9849-79FF15B78EF0}"/>
    <dgm:cxn modelId="{33F43A8A-3CC8-4334-8714-CB475542533B}" type="presOf" srcId="{6CE1A86C-5E74-4ADB-95CE-83D1024B8A1B}" destId="{6E216FF8-2780-4ABE-969B-CDD8F6583DDC}" srcOrd="0" destOrd="0" presId="urn:microsoft.com/office/officeart/2005/8/layout/lProcess3"/>
    <dgm:cxn modelId="{F875A6EA-D09C-4FBB-A92C-73C0BA23DBA0}" type="presOf" srcId="{20446483-3131-45C6-9B63-8672E75978B6}" destId="{76A59E32-1369-43F3-BA20-12EAEE339E49}" srcOrd="0" destOrd="0" presId="urn:microsoft.com/office/officeart/2005/8/layout/lProcess3"/>
    <dgm:cxn modelId="{7BFCD170-6D7A-4815-B43E-FC0D2CF65DDA}" srcId="{23193460-2B00-4BBA-B2EF-55CC2B44251D}" destId="{9A17E9D9-E8F2-4A3D-B3C2-0BF77FF6D42E}" srcOrd="1" destOrd="0" parTransId="{1E3B8620-2598-4AD1-B142-4BF992FCC7D5}" sibTransId="{E69B4927-D436-46DC-B02B-BBE2B2FB337F}"/>
    <dgm:cxn modelId="{FD555119-81B7-423C-9055-58EC56CBFE23}" type="presOf" srcId="{9A17E9D9-E8F2-4A3D-B3C2-0BF77FF6D42E}" destId="{63D44174-705A-471D-8957-98F128C02313}" srcOrd="0" destOrd="0" presId="urn:microsoft.com/office/officeart/2005/8/layout/lProcess3"/>
    <dgm:cxn modelId="{2A2E27CB-E7B7-4EBC-BE45-1A0413F68694}" type="presOf" srcId="{0EEE7DE5-2B00-458B-BCAB-CB504BAD12E7}" destId="{7BCA09AF-73D2-4619-A7A7-F58A620080A0}" srcOrd="0" destOrd="0" presId="urn:microsoft.com/office/officeart/2005/8/layout/lProcess3"/>
    <dgm:cxn modelId="{FF888F5F-DB76-4362-9E36-8483708879BB}" srcId="{23193460-2B00-4BBA-B2EF-55CC2B44251D}" destId="{1CEA679C-96CA-460E-AC4E-1582F3BE9109}" srcOrd="0" destOrd="0" parTransId="{142C46B5-687D-479B-9E79-40DA7F5DEF44}" sibTransId="{6F495585-C16D-46B3-BD6D-CD5560F9DB86}"/>
    <dgm:cxn modelId="{514C613D-60A0-4643-BBC0-BE8471FD5547}" type="presOf" srcId="{A4C25754-AF2E-445A-B1C4-208C361E3027}" destId="{1DE78E1A-287A-4644-911E-2C3E7FDD395B}" srcOrd="0" destOrd="0" presId="urn:microsoft.com/office/officeart/2005/8/layout/lProcess3"/>
    <dgm:cxn modelId="{51AB0B94-82E4-43E9-8949-985CC568556A}" type="presOf" srcId="{C0C666D5-C6AE-48A4-8BEB-1E0B4423CC7F}" destId="{F6BDEFCB-7EF5-4C67-9CC3-C8A5F8837BEC}" srcOrd="0" destOrd="0" presId="urn:microsoft.com/office/officeart/2005/8/layout/lProcess3"/>
    <dgm:cxn modelId="{3F8CF7C8-6210-42A5-8DA3-FA0302C8434A}" srcId="{A4C25754-AF2E-445A-B1C4-208C361E3027}" destId="{647DD7A5-0012-436B-BAB9-BDE52DC25B90}" srcOrd="0" destOrd="0" parTransId="{3AB16B59-D0CB-483E-BCBC-D5B2E737CB7D}" sibTransId="{706A9391-DCC8-4EEB-A18D-BE55B315846C}"/>
    <dgm:cxn modelId="{80260B3B-B79C-46B4-97AA-A804C2A3920E}" srcId="{647DD7A5-0012-436B-BAB9-BDE52DC25B90}" destId="{545954EC-4953-467F-8E27-933BAB5A8E05}" srcOrd="1" destOrd="0" parTransId="{E031E22B-55B8-4FED-A7B2-47054E3D78C2}" sibTransId="{3195B29B-0B9A-47B3-B2F4-4FDC8876F8E7}"/>
    <dgm:cxn modelId="{20E0196F-EDD9-474A-9FAF-DF8543639C6C}" srcId="{1D0431D3-64B3-4A2A-BC98-318609876B89}" destId="{6CE1A86C-5E74-4ADB-95CE-83D1024B8A1B}" srcOrd="4" destOrd="0" parTransId="{E68E1A5A-6E88-458A-8CB9-F2B234C35568}" sibTransId="{CCAC4F14-E3B3-4CA3-9BF7-C73D5E00EE32}"/>
    <dgm:cxn modelId="{D65ABC08-8E9F-48FB-9C91-F5256B3DDC67}" srcId="{647DD7A5-0012-436B-BAB9-BDE52DC25B90}" destId="{6D8F2393-DBD3-466D-BB9D-AE10062D1E45}" srcOrd="0" destOrd="0" parTransId="{583416F9-FBC6-4C82-8614-951CEE12CD70}" sibTransId="{03DE5228-1E63-4C54-9AE4-3B883B2F1DBA}"/>
    <dgm:cxn modelId="{ED905CA8-78C4-4B26-B4F3-FBE3111ED1C6}" srcId="{22C9BA16-C912-4AB8-B16E-FF797935FE95}" destId="{17FA8828-52A2-4AF5-B391-AB85135831D1}" srcOrd="0" destOrd="0" parTransId="{7C76C83D-CE5B-4D7C-AD83-B4E39CEEF00A}" sibTransId="{5831FBD0-5DF6-4737-9D40-31BD670C5784}"/>
    <dgm:cxn modelId="{20AAE980-8092-4326-A197-C1C565AB19AA}" type="presOf" srcId="{17FA8828-52A2-4AF5-B391-AB85135831D1}" destId="{050DB05E-783F-4CCF-9747-F95A7E32D478}" srcOrd="0" destOrd="0" presId="urn:microsoft.com/office/officeart/2005/8/layout/lProcess3"/>
    <dgm:cxn modelId="{EC06577F-9572-4923-825E-652125A51976}" type="presOf" srcId="{1DD1AC1D-B569-457A-ABD8-ECBDB05C5B6B}" destId="{58186B43-07B2-485C-BAFC-A38A2D2CA252}" srcOrd="0" destOrd="0" presId="urn:microsoft.com/office/officeart/2005/8/layout/lProcess3"/>
    <dgm:cxn modelId="{CA0D4426-5DC5-4E15-8CD4-69B9B9213E44}" srcId="{A4C25754-AF2E-445A-B1C4-208C361E3027}" destId="{1D0431D3-64B3-4A2A-BC98-318609876B89}" srcOrd="2" destOrd="0" parTransId="{8F056A3C-46EE-4105-96AC-805B07284C64}" sibTransId="{8B27C768-6F47-4415-9EAC-93F37110362D}"/>
    <dgm:cxn modelId="{51E55581-CECD-4AF7-BC46-2293C2202678}" type="presOf" srcId="{AA8DBEC3-5730-473F-B244-820415D3B97D}" destId="{9FA528D7-26AC-4E04-B14F-E0155359DB2B}" srcOrd="0" destOrd="0" presId="urn:microsoft.com/office/officeart/2005/8/layout/lProcess3"/>
    <dgm:cxn modelId="{671CB356-F728-45FA-9613-8893B0EB7710}" type="presOf" srcId="{1C057D00-7046-4C92-8845-E659397CD6FE}" destId="{EE523708-1E1B-4AAA-A918-8F0DB46124F9}" srcOrd="0" destOrd="0" presId="urn:microsoft.com/office/officeart/2005/8/layout/lProcess3"/>
    <dgm:cxn modelId="{2E6CD061-5211-49EC-9292-53AC3A9AD1E4}" srcId="{647DD7A5-0012-436B-BAB9-BDE52DC25B90}" destId="{2B87F55F-3DDA-4DB8-85DC-69C630658C4A}" srcOrd="4" destOrd="0" parTransId="{E458CF27-D025-4F7B-B018-63E3837B169F}" sibTransId="{DE6A453F-2629-4B65-903F-D41D3D5F3A92}"/>
    <dgm:cxn modelId="{6AC51181-18CA-4071-8671-E723CB2F83E3}" srcId="{22C9BA16-C912-4AB8-B16E-FF797935FE95}" destId="{20446483-3131-45C6-9B63-8672E75978B6}" srcOrd="4" destOrd="0" parTransId="{C592FC82-2CCB-41D1-AB19-C1027B3220DC}" sibTransId="{744972D6-F7F9-4325-9F4B-A70060987F27}"/>
    <dgm:cxn modelId="{9AEC6FC0-CD11-49B0-9940-4D10A3FE7DFB}" type="presOf" srcId="{7EDDC5A2-9A6F-4101-B5CB-77EDED0EB09F}" destId="{A7989C51-1EF4-4500-81D6-6D719DDD68D0}" srcOrd="0" destOrd="0" presId="urn:microsoft.com/office/officeart/2005/8/layout/lProcess3"/>
    <dgm:cxn modelId="{52100F12-BE81-40CD-A68F-E3FA558C44E7}" type="presOf" srcId="{82B4419E-EA02-41F8-8851-D338BCF00BF0}" destId="{0EE2C3EC-54D5-48DD-BB5E-1E84B5C6767E}" srcOrd="0" destOrd="0" presId="urn:microsoft.com/office/officeart/2005/8/layout/lProcess3"/>
    <dgm:cxn modelId="{1229EF09-38DE-4DBC-A8DA-8DE3EE5592E3}" type="presOf" srcId="{6D8F2393-DBD3-466D-BB9D-AE10062D1E45}" destId="{9E6C8AC0-5D21-43F3-83C4-CC1B7203E690}" srcOrd="0" destOrd="0" presId="urn:microsoft.com/office/officeart/2005/8/layout/lProcess3"/>
    <dgm:cxn modelId="{3C475407-F480-4626-964A-7BA9A53E8463}" srcId="{23193460-2B00-4BBA-B2EF-55CC2B44251D}" destId="{7EDDC5A2-9A6F-4101-B5CB-77EDED0EB09F}" srcOrd="2" destOrd="0" parTransId="{994A2668-1209-4FF4-84C6-EBEFEE5719F7}" sibTransId="{6F48EEA3-B2B6-4574-A8AF-5F75DE2E1693}"/>
    <dgm:cxn modelId="{0425F08E-D745-4524-BEC2-07ED372F5441}" type="presOf" srcId="{2B87F55F-3DDA-4DB8-85DC-69C630658C4A}" destId="{9DA68F1C-8A13-4764-9EED-8C5C1AC113E6}" srcOrd="0" destOrd="0" presId="urn:microsoft.com/office/officeart/2005/8/layout/lProcess3"/>
    <dgm:cxn modelId="{0123C213-567B-4983-9A19-D21B7B88431D}" type="presOf" srcId="{545954EC-4953-467F-8E27-933BAB5A8E05}" destId="{5F155100-7715-4A17-90EE-690DB2345E60}" srcOrd="0" destOrd="0" presId="urn:microsoft.com/office/officeart/2005/8/layout/lProcess3"/>
    <dgm:cxn modelId="{17F6472B-5BE6-4D2E-9D5C-06CFDFAC0AA4}" type="presOf" srcId="{647DD7A5-0012-436B-BAB9-BDE52DC25B90}" destId="{F6E04653-AC57-46CE-A503-3CBBAD1D7D39}" srcOrd="0" destOrd="0" presId="urn:microsoft.com/office/officeart/2005/8/layout/lProcess3"/>
    <dgm:cxn modelId="{C355C560-CE03-445B-A62A-70AC2F8C5F66}" srcId="{647DD7A5-0012-436B-BAB9-BDE52DC25B90}" destId="{1F00858C-756E-438F-ACFC-655C02058CEA}" srcOrd="3" destOrd="0" parTransId="{3C5879BC-6281-4669-8BEF-2E0C6AD6F405}" sibTransId="{E87351C3-C3F4-4BF9-BC9D-FD82FB04DFC6}"/>
    <dgm:cxn modelId="{03DFE1E2-F88B-4EEB-A772-5D88591C3F04}" type="presParOf" srcId="{1DE78E1A-287A-4644-911E-2C3E7FDD395B}" destId="{1A84AAE2-0808-451B-B00F-51978064A56A}" srcOrd="0" destOrd="0" presId="urn:microsoft.com/office/officeart/2005/8/layout/lProcess3"/>
    <dgm:cxn modelId="{86D7E632-AAFC-48EB-8068-6819A505285C}" type="presParOf" srcId="{1A84AAE2-0808-451B-B00F-51978064A56A}" destId="{F6E04653-AC57-46CE-A503-3CBBAD1D7D39}" srcOrd="0" destOrd="0" presId="urn:microsoft.com/office/officeart/2005/8/layout/lProcess3"/>
    <dgm:cxn modelId="{B9195C12-F1FA-4333-A756-11F46AF9462E}" type="presParOf" srcId="{1A84AAE2-0808-451B-B00F-51978064A56A}" destId="{2FD405EF-9A12-4113-837F-4235A9C8BCDF}" srcOrd="1" destOrd="0" presId="urn:microsoft.com/office/officeart/2005/8/layout/lProcess3"/>
    <dgm:cxn modelId="{873A17B3-8164-4966-9FE4-8F31D8D3400D}" type="presParOf" srcId="{1A84AAE2-0808-451B-B00F-51978064A56A}" destId="{9E6C8AC0-5D21-43F3-83C4-CC1B7203E690}" srcOrd="2" destOrd="0" presId="urn:microsoft.com/office/officeart/2005/8/layout/lProcess3"/>
    <dgm:cxn modelId="{E2D5FEEB-7454-46B1-8B26-5D089326A5EB}" type="presParOf" srcId="{1A84AAE2-0808-451B-B00F-51978064A56A}" destId="{12437B27-DC93-4BD7-BC2C-B48051EB2B27}" srcOrd="3" destOrd="0" presId="urn:microsoft.com/office/officeart/2005/8/layout/lProcess3"/>
    <dgm:cxn modelId="{36A65702-D9EB-4058-A5E1-C37ADE9DA79E}" type="presParOf" srcId="{1A84AAE2-0808-451B-B00F-51978064A56A}" destId="{5F155100-7715-4A17-90EE-690DB2345E60}" srcOrd="4" destOrd="0" presId="urn:microsoft.com/office/officeart/2005/8/layout/lProcess3"/>
    <dgm:cxn modelId="{272B8057-6A0B-4D91-9B6A-D8A4771593BC}" type="presParOf" srcId="{1A84AAE2-0808-451B-B00F-51978064A56A}" destId="{556E6604-75C8-47B9-8F4D-7B0C112FFCB2}" srcOrd="5" destOrd="0" presId="urn:microsoft.com/office/officeart/2005/8/layout/lProcess3"/>
    <dgm:cxn modelId="{C0704F78-2389-467F-A25B-807B3274C5B5}" type="presParOf" srcId="{1A84AAE2-0808-451B-B00F-51978064A56A}" destId="{7BCA09AF-73D2-4619-A7A7-F58A620080A0}" srcOrd="6" destOrd="0" presId="urn:microsoft.com/office/officeart/2005/8/layout/lProcess3"/>
    <dgm:cxn modelId="{A3703474-2FCD-4696-80A9-199EB8AB4DA3}" type="presParOf" srcId="{1A84AAE2-0808-451B-B00F-51978064A56A}" destId="{6993564F-6DB6-4935-B3A0-CE9427733D38}" srcOrd="7" destOrd="0" presId="urn:microsoft.com/office/officeart/2005/8/layout/lProcess3"/>
    <dgm:cxn modelId="{E72A4589-23AF-4F18-BF76-B4DE4F6EEF14}" type="presParOf" srcId="{1A84AAE2-0808-451B-B00F-51978064A56A}" destId="{6F58A52D-AFF9-49F5-8538-1AB9A54C1571}" srcOrd="8" destOrd="0" presId="urn:microsoft.com/office/officeart/2005/8/layout/lProcess3"/>
    <dgm:cxn modelId="{ED12AC98-406E-4181-B36E-E5DCCA79B2DA}" type="presParOf" srcId="{1A84AAE2-0808-451B-B00F-51978064A56A}" destId="{26A65A6A-FEA9-4FF4-AB74-E96C5C5FD924}" srcOrd="9" destOrd="0" presId="urn:microsoft.com/office/officeart/2005/8/layout/lProcess3"/>
    <dgm:cxn modelId="{3194EB45-0636-4686-9137-AC183D0C0CE3}" type="presParOf" srcId="{1A84AAE2-0808-451B-B00F-51978064A56A}" destId="{9DA68F1C-8A13-4764-9EED-8C5C1AC113E6}" srcOrd="10" destOrd="0" presId="urn:microsoft.com/office/officeart/2005/8/layout/lProcess3"/>
    <dgm:cxn modelId="{DF5CBDB7-2623-46A5-A952-C0DF06C46FF2}" type="presParOf" srcId="{1DE78E1A-287A-4644-911E-2C3E7FDD395B}" destId="{0D952C92-7C21-4671-AE94-64DCC08CB47C}" srcOrd="1" destOrd="0" presId="urn:microsoft.com/office/officeart/2005/8/layout/lProcess3"/>
    <dgm:cxn modelId="{C838AD49-E1E4-4872-AC9A-B11B83F071F1}" type="presParOf" srcId="{1DE78E1A-287A-4644-911E-2C3E7FDD395B}" destId="{FED88096-892B-4EC2-9E54-1AC122C68345}" srcOrd="2" destOrd="0" presId="urn:microsoft.com/office/officeart/2005/8/layout/lProcess3"/>
    <dgm:cxn modelId="{750C95E6-565B-43DF-8EAB-BB598045D0E9}" type="presParOf" srcId="{FED88096-892B-4EC2-9E54-1AC122C68345}" destId="{45A1425D-2946-43E1-B1EC-77043B192449}" srcOrd="0" destOrd="0" presId="urn:microsoft.com/office/officeart/2005/8/layout/lProcess3"/>
    <dgm:cxn modelId="{CA615CAB-EB8B-4A93-93C9-1FC67FBA607B}" type="presParOf" srcId="{FED88096-892B-4EC2-9E54-1AC122C68345}" destId="{6EDFC9BE-7488-47C8-9C6B-A9C6D1E82C02}" srcOrd="1" destOrd="0" presId="urn:microsoft.com/office/officeart/2005/8/layout/lProcess3"/>
    <dgm:cxn modelId="{5BA53591-4418-4DE6-ADB5-ECAAF47B2303}" type="presParOf" srcId="{FED88096-892B-4EC2-9E54-1AC122C68345}" destId="{050DB05E-783F-4CCF-9747-F95A7E32D478}" srcOrd="2" destOrd="0" presId="urn:microsoft.com/office/officeart/2005/8/layout/lProcess3"/>
    <dgm:cxn modelId="{E09145B5-25C5-4651-ADB2-4B7228A525BE}" type="presParOf" srcId="{FED88096-892B-4EC2-9E54-1AC122C68345}" destId="{3F8234F6-BDB0-48B1-8C45-48C899BF167B}" srcOrd="3" destOrd="0" presId="urn:microsoft.com/office/officeart/2005/8/layout/lProcess3"/>
    <dgm:cxn modelId="{FDDAC889-786C-4595-9C72-F764630E9630}" type="presParOf" srcId="{FED88096-892B-4EC2-9E54-1AC122C68345}" destId="{EE523708-1E1B-4AAA-A918-8F0DB46124F9}" srcOrd="4" destOrd="0" presId="urn:microsoft.com/office/officeart/2005/8/layout/lProcess3"/>
    <dgm:cxn modelId="{0A474BF0-7B53-4D3B-BB46-B3B905DA9B6C}" type="presParOf" srcId="{FED88096-892B-4EC2-9E54-1AC122C68345}" destId="{394A353D-2412-4CC3-8B67-F3A0F8C998EB}" srcOrd="5" destOrd="0" presId="urn:microsoft.com/office/officeart/2005/8/layout/lProcess3"/>
    <dgm:cxn modelId="{96C6BCB3-D62C-4445-89F4-5D967A415F50}" type="presParOf" srcId="{FED88096-892B-4EC2-9E54-1AC122C68345}" destId="{87B307EE-F7E3-478C-99DF-363D7920F82C}" srcOrd="6" destOrd="0" presId="urn:microsoft.com/office/officeart/2005/8/layout/lProcess3"/>
    <dgm:cxn modelId="{017CA1E8-334C-4724-ACA9-B08BA176049F}" type="presParOf" srcId="{FED88096-892B-4EC2-9E54-1AC122C68345}" destId="{1F7177C5-C327-4167-AB92-530115D8A37A}" srcOrd="7" destOrd="0" presId="urn:microsoft.com/office/officeart/2005/8/layout/lProcess3"/>
    <dgm:cxn modelId="{8D9D76B5-1C06-466E-9223-DC965F56770C}" type="presParOf" srcId="{FED88096-892B-4EC2-9E54-1AC122C68345}" destId="{CED8139D-1618-489C-91A6-6B435D2A051E}" srcOrd="8" destOrd="0" presId="urn:microsoft.com/office/officeart/2005/8/layout/lProcess3"/>
    <dgm:cxn modelId="{126F53A2-608D-4627-9E22-307208EB89E0}" type="presParOf" srcId="{FED88096-892B-4EC2-9E54-1AC122C68345}" destId="{232C0BA6-DDAE-4F0C-A30C-002BE01369D9}" srcOrd="9" destOrd="0" presId="urn:microsoft.com/office/officeart/2005/8/layout/lProcess3"/>
    <dgm:cxn modelId="{48279FFF-5572-46B4-AA3B-B05EEABA6BB1}" type="presParOf" srcId="{FED88096-892B-4EC2-9E54-1AC122C68345}" destId="{76A59E32-1369-43F3-BA20-12EAEE339E49}" srcOrd="10" destOrd="0" presId="urn:microsoft.com/office/officeart/2005/8/layout/lProcess3"/>
    <dgm:cxn modelId="{A10D23F7-F880-4CC8-97AB-65A298E5F8E7}" type="presParOf" srcId="{1DE78E1A-287A-4644-911E-2C3E7FDD395B}" destId="{91A9BBBC-E226-44ED-B966-18A36F466E5B}" srcOrd="3" destOrd="0" presId="urn:microsoft.com/office/officeart/2005/8/layout/lProcess3"/>
    <dgm:cxn modelId="{592FA729-8145-4D18-B756-C68F20532742}" type="presParOf" srcId="{1DE78E1A-287A-4644-911E-2C3E7FDD395B}" destId="{DAD2B607-B187-469D-B28A-EE687D766071}" srcOrd="4" destOrd="0" presId="urn:microsoft.com/office/officeart/2005/8/layout/lProcess3"/>
    <dgm:cxn modelId="{10021B57-99D7-452F-AD30-D0758ACD36DA}" type="presParOf" srcId="{DAD2B607-B187-469D-B28A-EE687D766071}" destId="{AC514612-8832-4B0F-86D0-3200CCE54AE0}" srcOrd="0" destOrd="0" presId="urn:microsoft.com/office/officeart/2005/8/layout/lProcess3"/>
    <dgm:cxn modelId="{FB910D25-0CDE-47C2-9B19-082D1319B083}" type="presParOf" srcId="{DAD2B607-B187-469D-B28A-EE687D766071}" destId="{71A396D0-074E-437B-B2EF-A0B34E0BE7F7}" srcOrd="1" destOrd="0" presId="urn:microsoft.com/office/officeart/2005/8/layout/lProcess3"/>
    <dgm:cxn modelId="{A652C5B9-1CCD-407C-8055-2F629BCB8D4B}" type="presParOf" srcId="{DAD2B607-B187-469D-B28A-EE687D766071}" destId="{F6BDEFCB-7EF5-4C67-9CC3-C8A5F8837BEC}" srcOrd="2" destOrd="0" presId="urn:microsoft.com/office/officeart/2005/8/layout/lProcess3"/>
    <dgm:cxn modelId="{F75138C2-7F3B-4A06-A333-2041F85A337D}" type="presParOf" srcId="{DAD2B607-B187-469D-B28A-EE687D766071}" destId="{AB380205-9165-48BE-90AF-1D37155F4626}" srcOrd="3" destOrd="0" presId="urn:microsoft.com/office/officeart/2005/8/layout/lProcess3"/>
    <dgm:cxn modelId="{1A5F15D3-A5A1-4A8C-81B7-C7C280F31E86}" type="presParOf" srcId="{DAD2B607-B187-469D-B28A-EE687D766071}" destId="{58186B43-07B2-485C-BAFC-A38A2D2CA252}" srcOrd="4" destOrd="0" presId="urn:microsoft.com/office/officeart/2005/8/layout/lProcess3"/>
    <dgm:cxn modelId="{84EE89C9-E0E2-4A56-BF61-6CE92D98D1F1}" type="presParOf" srcId="{DAD2B607-B187-469D-B28A-EE687D766071}" destId="{7D78B4A9-2CA2-46A7-9724-90A84F6E3D1B}" srcOrd="5" destOrd="0" presId="urn:microsoft.com/office/officeart/2005/8/layout/lProcess3"/>
    <dgm:cxn modelId="{A3E9765F-3125-46B7-960A-427A60457FD2}" type="presParOf" srcId="{DAD2B607-B187-469D-B28A-EE687D766071}" destId="{0147A711-EAE7-444C-88B2-0E0CB88E6274}" srcOrd="6" destOrd="0" presId="urn:microsoft.com/office/officeart/2005/8/layout/lProcess3"/>
    <dgm:cxn modelId="{5CCCBA00-1852-489B-AF9D-764F6920A961}" type="presParOf" srcId="{DAD2B607-B187-469D-B28A-EE687D766071}" destId="{83242370-A8A0-49D9-8F01-B0DBCCE9E329}" srcOrd="7" destOrd="0" presId="urn:microsoft.com/office/officeart/2005/8/layout/lProcess3"/>
    <dgm:cxn modelId="{408F77B0-5725-4833-A6F1-EEFF94D0785F}" type="presParOf" srcId="{DAD2B607-B187-469D-B28A-EE687D766071}" destId="{9FA528D7-26AC-4E04-B14F-E0155359DB2B}" srcOrd="8" destOrd="0" presId="urn:microsoft.com/office/officeart/2005/8/layout/lProcess3"/>
    <dgm:cxn modelId="{34B7B0BB-AC67-4C22-B383-374F59BFDCC0}" type="presParOf" srcId="{DAD2B607-B187-469D-B28A-EE687D766071}" destId="{830719E3-B039-41C3-82E1-9E3518710380}" srcOrd="9" destOrd="0" presId="urn:microsoft.com/office/officeart/2005/8/layout/lProcess3"/>
    <dgm:cxn modelId="{6A9353A4-2133-49B4-B11B-25B5C1EFD7C6}" type="presParOf" srcId="{DAD2B607-B187-469D-B28A-EE687D766071}" destId="{6E216FF8-2780-4ABE-969B-CDD8F6583DDC}" srcOrd="10" destOrd="0" presId="urn:microsoft.com/office/officeart/2005/8/layout/lProcess3"/>
    <dgm:cxn modelId="{5E115026-1A78-47EC-B3B9-C6FDE6A3F4E8}" type="presParOf" srcId="{1DE78E1A-287A-4644-911E-2C3E7FDD395B}" destId="{8666EA12-234D-4CB4-8E75-0C81F718C0A9}" srcOrd="5" destOrd="0" presId="urn:microsoft.com/office/officeart/2005/8/layout/lProcess3"/>
    <dgm:cxn modelId="{DCA1D852-6117-4736-8EBA-50E6F909EDED}" type="presParOf" srcId="{1DE78E1A-287A-4644-911E-2C3E7FDD395B}" destId="{0D0AE263-B1EA-44DD-9FE2-9CAC606D6FC5}" srcOrd="6" destOrd="0" presId="urn:microsoft.com/office/officeart/2005/8/layout/lProcess3"/>
    <dgm:cxn modelId="{50D7AD5F-9B18-4CF5-9461-59BB5EBFC5EB}" type="presParOf" srcId="{0D0AE263-B1EA-44DD-9FE2-9CAC606D6FC5}" destId="{01295B02-5629-4790-BB4D-A7650C590746}" srcOrd="0" destOrd="0" presId="urn:microsoft.com/office/officeart/2005/8/layout/lProcess3"/>
    <dgm:cxn modelId="{D614DE7C-0F7B-4A82-B391-2177E6EB656A}" type="presParOf" srcId="{0D0AE263-B1EA-44DD-9FE2-9CAC606D6FC5}" destId="{A75BC414-AEA6-434B-B674-287E649E0B5D}" srcOrd="1" destOrd="0" presId="urn:microsoft.com/office/officeart/2005/8/layout/lProcess3"/>
    <dgm:cxn modelId="{08BBBF0A-BC97-4D66-B6A1-6C5384587FBA}" type="presParOf" srcId="{0D0AE263-B1EA-44DD-9FE2-9CAC606D6FC5}" destId="{6EF753EC-17CD-46A6-81D5-6C737C6C4D8F}" srcOrd="2" destOrd="0" presId="urn:microsoft.com/office/officeart/2005/8/layout/lProcess3"/>
    <dgm:cxn modelId="{E7B52315-F888-4FB9-8EAF-5F269D19EDD9}" type="presParOf" srcId="{0D0AE263-B1EA-44DD-9FE2-9CAC606D6FC5}" destId="{F90259C5-94CE-4646-9BBB-9D77BAFCC246}" srcOrd="3" destOrd="0" presId="urn:microsoft.com/office/officeart/2005/8/layout/lProcess3"/>
    <dgm:cxn modelId="{6B494ED2-D653-412A-9B2C-E1A385520822}" type="presParOf" srcId="{0D0AE263-B1EA-44DD-9FE2-9CAC606D6FC5}" destId="{63D44174-705A-471D-8957-98F128C02313}" srcOrd="4" destOrd="0" presId="urn:microsoft.com/office/officeart/2005/8/layout/lProcess3"/>
    <dgm:cxn modelId="{224B64EA-CD0E-4FA3-A85E-1D54DCECD0FD}" type="presParOf" srcId="{0D0AE263-B1EA-44DD-9FE2-9CAC606D6FC5}" destId="{F97E5AF9-947E-4CC6-9073-F777788D2625}" srcOrd="5" destOrd="0" presId="urn:microsoft.com/office/officeart/2005/8/layout/lProcess3"/>
    <dgm:cxn modelId="{EBAD3D41-9233-4304-8413-BA30350E04F8}" type="presParOf" srcId="{0D0AE263-B1EA-44DD-9FE2-9CAC606D6FC5}" destId="{A7989C51-1EF4-4500-81D6-6D719DDD68D0}" srcOrd="6" destOrd="0" presId="urn:microsoft.com/office/officeart/2005/8/layout/lProcess3"/>
    <dgm:cxn modelId="{55322381-A1F4-4096-9562-23DEEC8CFEDE}" type="presParOf" srcId="{0D0AE263-B1EA-44DD-9FE2-9CAC606D6FC5}" destId="{49AEC048-1AAE-4592-9445-E9DFA3B4AE30}" srcOrd="7" destOrd="0" presId="urn:microsoft.com/office/officeart/2005/8/layout/lProcess3"/>
    <dgm:cxn modelId="{514DB903-515B-47F0-AF3F-37CBE505991C}" type="presParOf" srcId="{0D0AE263-B1EA-44DD-9FE2-9CAC606D6FC5}" destId="{A13861A0-3C4D-407A-AD33-595EDBF2F097}" srcOrd="8" destOrd="0" presId="urn:microsoft.com/office/officeart/2005/8/layout/lProcess3"/>
    <dgm:cxn modelId="{E5B4B962-20B0-4FE4-81F2-F884317740DD}" type="presParOf" srcId="{0D0AE263-B1EA-44DD-9FE2-9CAC606D6FC5}" destId="{4A81BF62-7FD5-4E20-9909-F9C72ED58289}" srcOrd="9" destOrd="0" presId="urn:microsoft.com/office/officeart/2005/8/layout/lProcess3"/>
    <dgm:cxn modelId="{CA5657B5-167D-4D10-9C29-4BE85B326F2E}" type="presParOf" srcId="{0D0AE263-B1EA-44DD-9FE2-9CAC606D6FC5}" destId="{0EE2C3EC-54D5-48DD-BB5E-1E84B5C6767E}" srcOrd="10" destOrd="0" presId="urn:microsoft.com/office/officeart/2005/8/layout/lProcess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chemeClr val="accent1"/>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a:solidFill>
          <a:srgbClr val="C00000"/>
        </a:solidFill>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chemeClr val="accent1"/>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a:solidFill>
          <a:srgbClr val="C00000"/>
        </a:solidFill>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C25754-AF2E-445A-B1C4-208C361E302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647DD7A5-0012-436B-BAB9-BDE52DC25B90}">
      <dgm:prSet phldrT="[Tekst]" custT="1"/>
      <dgm:spPr>
        <a:solidFill>
          <a:srgbClr val="C00000"/>
        </a:solidFill>
      </dgm:spPr>
      <dgm:t>
        <a:bodyPr/>
        <a:lstStyle/>
        <a:p>
          <a:r>
            <a:rPr lang="nl-NL" sz="1000" dirty="0">
              <a:solidFill>
                <a:schemeClr val="bg1"/>
              </a:solidFill>
            </a:rPr>
            <a:t>Architectuur</a:t>
          </a:r>
        </a:p>
      </dgm:t>
    </dgm:pt>
    <dgm:pt modelId="{3AB16B59-D0CB-483E-BCBC-D5B2E737CB7D}" type="parTrans" cxnId="{3F8CF7C8-6210-42A5-8DA3-FA0302C8434A}">
      <dgm:prSet/>
      <dgm:spPr/>
      <dgm:t>
        <a:bodyPr/>
        <a:lstStyle/>
        <a:p>
          <a:endParaRPr lang="nl-NL" sz="1000"/>
        </a:p>
      </dgm:t>
    </dgm:pt>
    <dgm:pt modelId="{706A9391-DCC8-4EEB-A18D-BE55B315846C}" type="sibTrans" cxnId="{3F8CF7C8-6210-42A5-8DA3-FA0302C8434A}">
      <dgm:prSet/>
      <dgm:spPr/>
      <dgm:t>
        <a:bodyPr/>
        <a:lstStyle/>
        <a:p>
          <a:endParaRPr lang="nl-NL" sz="1000"/>
        </a:p>
      </dgm:t>
    </dgm:pt>
    <dgm:pt modelId="{545954EC-4953-467F-8E27-933BAB5A8E05}">
      <dgm:prSet phldrT="[Tekst]" custT="1"/>
      <dgm:spPr/>
      <dgm:t>
        <a:bodyPr/>
        <a:lstStyle/>
        <a:p>
          <a:pPr>
            <a:spcAft>
              <a:spcPts val="600"/>
            </a:spcAft>
            <a:buFont typeface="+mj-lt"/>
            <a:buNone/>
          </a:pPr>
          <a:r>
            <a:rPr lang="nl-NL" sz="900" dirty="0" smtClean="0">
              <a:solidFill>
                <a:schemeClr val="tx1"/>
              </a:solidFill>
            </a:rPr>
            <a:t>Alle Domein architecturen op orde</a:t>
          </a:r>
          <a:endParaRPr lang="nl-NL" sz="900" dirty="0">
            <a:solidFill>
              <a:schemeClr val="tx1"/>
            </a:solidFill>
          </a:endParaRPr>
        </a:p>
      </dgm:t>
    </dgm:pt>
    <dgm:pt modelId="{E031E22B-55B8-4FED-A7B2-47054E3D78C2}" type="parTrans" cxnId="{80260B3B-B79C-46B4-97AA-A804C2A3920E}">
      <dgm:prSet/>
      <dgm:spPr/>
      <dgm:t>
        <a:bodyPr/>
        <a:lstStyle/>
        <a:p>
          <a:endParaRPr lang="nl-NL" sz="1000"/>
        </a:p>
      </dgm:t>
    </dgm:pt>
    <dgm:pt modelId="{3195B29B-0B9A-47B3-B2F4-4FDC8876F8E7}" type="sibTrans" cxnId="{80260B3B-B79C-46B4-97AA-A804C2A3920E}">
      <dgm:prSet/>
      <dgm:spPr/>
      <dgm:t>
        <a:bodyPr/>
        <a:lstStyle/>
        <a:p>
          <a:endParaRPr lang="nl-NL" sz="1000"/>
        </a:p>
      </dgm:t>
    </dgm:pt>
    <dgm:pt modelId="{22C9BA16-C912-4AB8-B16E-FF797935FE95}">
      <dgm:prSet phldrT="[Tekst]" custT="1"/>
      <dgm:spPr>
        <a:solidFill>
          <a:srgbClr val="C00000"/>
        </a:solidFill>
        <a:ln>
          <a:solidFill>
            <a:schemeClr val="bg1"/>
          </a:solidFill>
        </a:ln>
      </dgm:spPr>
      <dgm:t>
        <a:bodyPr/>
        <a:lstStyle/>
        <a:p>
          <a:r>
            <a:rPr lang="nl-NL" sz="1000">
              <a:solidFill>
                <a:schemeClr val="bg1"/>
              </a:solidFill>
            </a:rPr>
            <a:t>IBP</a:t>
          </a:r>
        </a:p>
      </dgm:t>
    </dgm:pt>
    <dgm:pt modelId="{93B98DF1-7871-4E1C-BCA9-B7D1E46536EC}" type="parTrans" cxnId="{C244C082-4F01-4C68-ACB6-0E8FA3198B3E}">
      <dgm:prSet/>
      <dgm:spPr/>
      <dgm:t>
        <a:bodyPr/>
        <a:lstStyle/>
        <a:p>
          <a:endParaRPr lang="nl-NL" sz="1000"/>
        </a:p>
      </dgm:t>
    </dgm:pt>
    <dgm:pt modelId="{92090AD9-6C79-48EC-9401-F0B181673841}" type="sibTrans" cxnId="{C244C082-4F01-4C68-ACB6-0E8FA3198B3E}">
      <dgm:prSet/>
      <dgm:spPr/>
      <dgm:t>
        <a:bodyPr/>
        <a:lstStyle/>
        <a:p>
          <a:endParaRPr lang="nl-NL" sz="1000"/>
        </a:p>
      </dgm:t>
    </dgm:pt>
    <dgm:pt modelId="{17FA8828-52A2-4AF5-B391-AB85135831D1}">
      <dgm:prSet phldrT="[Tekst]" custT="1"/>
      <dgm:spPr>
        <a:solidFill>
          <a:schemeClr val="accent1">
            <a:lumMod val="90000"/>
            <a:alpha val="90000"/>
          </a:schemeClr>
        </a:solidFill>
        <a:ln>
          <a:solidFill>
            <a:schemeClr val="accent1">
              <a:lumMod val="90000"/>
              <a:alpha val="90000"/>
            </a:schemeClr>
          </a:solidFill>
        </a:ln>
      </dgm:spPr>
      <dgm:t>
        <a:bodyPr/>
        <a:lstStyle/>
        <a:p>
          <a:pPr>
            <a:buClrTx/>
            <a:buSzTx/>
            <a:buFont typeface="+mj-lt"/>
            <a:buNone/>
          </a:pPr>
          <a:r>
            <a:rPr lang="nl-NL" sz="800" dirty="0" smtClean="0"/>
            <a:t>IBP geïntegreerd en geïmplementeerd</a:t>
          </a:r>
        </a:p>
        <a:p>
          <a:pPr>
            <a:buClrTx/>
            <a:buSzTx/>
            <a:buFont typeface="+mj-lt"/>
            <a:buNone/>
          </a:pPr>
          <a:r>
            <a:rPr lang="nl-NL" sz="800" dirty="0" smtClean="0"/>
            <a:t>Risicomanagement ingericht</a:t>
          </a:r>
        </a:p>
        <a:p>
          <a:pPr>
            <a:buClrTx/>
            <a:buSzTx/>
            <a:buFont typeface="+mj-lt"/>
            <a:buNone/>
          </a:pPr>
          <a:r>
            <a:rPr lang="nl-NL" sz="800" dirty="0" smtClean="0"/>
            <a:t>BCM plan en beleid</a:t>
          </a:r>
          <a:endParaRPr lang="nl-NL" sz="800" dirty="0"/>
        </a:p>
      </dgm:t>
    </dgm:pt>
    <dgm:pt modelId="{7C76C83D-CE5B-4D7C-AD83-B4E39CEEF00A}" type="parTrans" cxnId="{ED905CA8-78C4-4B26-B4F3-FBE3111ED1C6}">
      <dgm:prSet/>
      <dgm:spPr/>
      <dgm:t>
        <a:bodyPr/>
        <a:lstStyle/>
        <a:p>
          <a:endParaRPr lang="nl-NL" sz="1000"/>
        </a:p>
      </dgm:t>
    </dgm:pt>
    <dgm:pt modelId="{5831FBD0-5DF6-4737-9D40-31BD670C5784}" type="sibTrans" cxnId="{ED905CA8-78C4-4B26-B4F3-FBE3111ED1C6}">
      <dgm:prSet/>
      <dgm:spPr/>
      <dgm:t>
        <a:bodyPr/>
        <a:lstStyle/>
        <a:p>
          <a:endParaRPr lang="nl-NL" sz="1000"/>
        </a:p>
      </dgm:t>
    </dgm:pt>
    <dgm:pt modelId="{1C057D00-7046-4C92-8845-E659397CD6FE}">
      <dgm:prSet phldrT="[Tekst]" custT="1"/>
      <dgm:spPr/>
      <dgm:t>
        <a:bodyPr/>
        <a:lstStyle/>
        <a:p>
          <a:pPr>
            <a:spcAft>
              <a:spcPts val="600"/>
            </a:spcAft>
            <a:buFont typeface="+mj-lt"/>
            <a:buNone/>
          </a:pPr>
          <a:r>
            <a:rPr lang="nl-NL" sz="900" dirty="0" smtClean="0"/>
            <a:t>BCM op orde en geïntegreerd</a:t>
          </a:r>
          <a:endParaRPr lang="nl-NL" sz="900" dirty="0">
            <a:solidFill>
              <a:srgbClr val="C00000"/>
            </a:solidFill>
          </a:endParaRPr>
        </a:p>
      </dgm:t>
    </dgm:pt>
    <dgm:pt modelId="{5CCF2DFA-AA14-4223-93C4-29A2BEE342FE}" type="parTrans" cxnId="{BC9DE52F-0BB5-4ACB-9274-779AEBE21803}">
      <dgm:prSet/>
      <dgm:spPr/>
      <dgm:t>
        <a:bodyPr/>
        <a:lstStyle/>
        <a:p>
          <a:endParaRPr lang="nl-NL" sz="1000"/>
        </a:p>
      </dgm:t>
    </dgm:pt>
    <dgm:pt modelId="{9F92A93D-431C-4D58-AC15-E971BD7417E8}" type="sibTrans" cxnId="{BC9DE52F-0BB5-4ACB-9274-779AEBE21803}">
      <dgm:prSet/>
      <dgm:spPr/>
      <dgm:t>
        <a:bodyPr/>
        <a:lstStyle/>
        <a:p>
          <a:endParaRPr lang="nl-NL" sz="1000"/>
        </a:p>
      </dgm:t>
    </dgm:pt>
    <dgm:pt modelId="{1D0431D3-64B3-4A2A-BC98-318609876B89}">
      <dgm:prSet phldrT="[Tekst]" custT="1"/>
      <dgm:spPr>
        <a:solidFill>
          <a:srgbClr val="C00000"/>
        </a:solidFill>
        <a:ln>
          <a:solidFill>
            <a:schemeClr val="bg1"/>
          </a:solidFill>
        </a:ln>
      </dgm:spPr>
      <dgm:t>
        <a:bodyPr/>
        <a:lstStyle/>
        <a:p>
          <a:r>
            <a:rPr lang="nl-NL" sz="1000">
              <a:solidFill>
                <a:schemeClr val="bg1"/>
              </a:solidFill>
            </a:rPr>
            <a:t>Modernisering</a:t>
          </a:r>
        </a:p>
      </dgm:t>
    </dgm:pt>
    <dgm:pt modelId="{8F056A3C-46EE-4105-96AC-805B07284C64}" type="parTrans" cxnId="{CA0D4426-5DC5-4E15-8CD4-69B9B9213E44}">
      <dgm:prSet/>
      <dgm:spPr/>
      <dgm:t>
        <a:bodyPr/>
        <a:lstStyle/>
        <a:p>
          <a:endParaRPr lang="nl-NL" sz="1000"/>
        </a:p>
      </dgm:t>
    </dgm:pt>
    <dgm:pt modelId="{8B27C768-6F47-4415-9EAC-93F37110362D}" type="sibTrans" cxnId="{CA0D4426-5DC5-4E15-8CD4-69B9B9213E44}">
      <dgm:prSet/>
      <dgm:spPr/>
      <dgm:t>
        <a:bodyPr/>
        <a:lstStyle/>
        <a:p>
          <a:endParaRPr lang="nl-NL" sz="1000"/>
        </a:p>
      </dgm:t>
    </dgm:pt>
    <dgm:pt modelId="{C0C666D5-C6AE-48A4-8BEB-1E0B4423CC7F}">
      <dgm:prSet phldrT="[Tekst]" custT="1"/>
      <dgm:spPr>
        <a:solidFill>
          <a:schemeClr val="accent1">
            <a:lumMod val="90000"/>
            <a:alpha val="90000"/>
          </a:schemeClr>
        </a:solidFill>
        <a:ln>
          <a:solidFill>
            <a:schemeClr val="accent1">
              <a:lumMod val="90000"/>
              <a:alpha val="90000"/>
            </a:schemeClr>
          </a:solidFill>
        </a:ln>
      </dgm:spPr>
      <dgm:t>
        <a:bodyPr/>
        <a:lstStyle/>
        <a:p>
          <a:pPr>
            <a:spcAft>
              <a:spcPts val="600"/>
            </a:spcAft>
            <a:buFont typeface="Arial" panose="020B0604020202020204" pitchFamily="34" charset="0"/>
            <a:buNone/>
          </a:pPr>
          <a:r>
            <a:rPr lang="nl-NL" sz="800" dirty="0" err="1" smtClean="0"/>
            <a:t>Quartz</a:t>
          </a:r>
          <a:r>
            <a:rPr lang="nl-NL" sz="800" dirty="0" smtClean="0"/>
            <a:t> Wbtv</a:t>
          </a:r>
        </a:p>
        <a:p>
          <a:pPr>
            <a:spcAft>
              <a:spcPts val="600"/>
            </a:spcAft>
            <a:buFont typeface="Arial" panose="020B0604020202020204" pitchFamily="34" charset="0"/>
            <a:buNone/>
          </a:pPr>
          <a:r>
            <a:rPr lang="nl-NL" sz="800" dirty="0" smtClean="0"/>
            <a:t>Websites </a:t>
          </a:r>
        </a:p>
        <a:p>
          <a:pPr>
            <a:spcAft>
              <a:spcPts val="600"/>
            </a:spcAft>
            <a:buFont typeface="Arial" panose="020B0604020202020204" pitchFamily="34" charset="0"/>
            <a:buNone/>
          </a:pPr>
          <a:r>
            <a:rPr lang="nl-NL" sz="800" dirty="0" smtClean="0"/>
            <a:t>Piketapplicatie</a:t>
          </a:r>
        </a:p>
        <a:p>
          <a:pPr>
            <a:spcAft>
              <a:spcPts val="600"/>
            </a:spcAft>
            <a:buFont typeface="Arial" panose="020B0604020202020204" pitchFamily="34" charset="0"/>
            <a:buNone/>
          </a:pPr>
          <a:r>
            <a:rPr lang="nl-NL" sz="800" dirty="0" smtClean="0"/>
            <a:t>Start RBV-portaal</a:t>
          </a:r>
          <a:endParaRPr lang="nl-NL" sz="800" dirty="0"/>
        </a:p>
      </dgm:t>
    </dgm:pt>
    <dgm:pt modelId="{7BCAD824-9F6C-4E51-8307-99177976A87F}" type="parTrans" cxnId="{3BB2DC6F-AEAE-401D-A71C-27E6D32EC4FB}">
      <dgm:prSet/>
      <dgm:spPr/>
      <dgm:t>
        <a:bodyPr/>
        <a:lstStyle/>
        <a:p>
          <a:endParaRPr lang="nl-NL" sz="1000"/>
        </a:p>
      </dgm:t>
    </dgm:pt>
    <dgm:pt modelId="{DEFB9FE7-85F7-46CA-BCD3-991BFEB6948F}" type="sibTrans" cxnId="{3BB2DC6F-AEAE-401D-A71C-27E6D32EC4FB}">
      <dgm:prSet/>
      <dgm:spPr/>
      <dgm:t>
        <a:bodyPr/>
        <a:lstStyle/>
        <a:p>
          <a:endParaRPr lang="nl-NL" sz="1000"/>
        </a:p>
      </dgm:t>
    </dgm:pt>
    <dgm:pt modelId="{1DD1AC1D-B569-457A-ABD8-ECBDB05C5B6B}">
      <dgm:prSet phldrT="[Tekst]" custT="1"/>
      <dgm:spPr/>
      <dgm:t>
        <a:bodyPr/>
        <a:lstStyle/>
        <a:p>
          <a:pPr>
            <a:spcAft>
              <a:spcPts val="600"/>
            </a:spcAft>
            <a:buClrTx/>
            <a:buSzTx/>
            <a:buFont typeface="Arial" panose="020B0604020202020204" pitchFamily="34" charset="0"/>
            <a:buNone/>
          </a:pPr>
          <a:r>
            <a:rPr lang="nl-NL" sz="800" dirty="0"/>
            <a:t>RBV-portaal </a:t>
          </a:r>
          <a:r>
            <a:rPr lang="nl-NL" sz="800" dirty="0" smtClean="0"/>
            <a:t>bouwen en Mijn RvR </a:t>
          </a:r>
          <a:r>
            <a:rPr lang="nl-NL" sz="800" dirty="0" err="1" smtClean="0"/>
            <a:t>uitfaseren</a:t>
          </a:r>
          <a:endParaRPr lang="nl-NL" sz="800" dirty="0" smtClean="0"/>
        </a:p>
        <a:p>
          <a:pPr>
            <a:spcAft>
              <a:spcPts val="600"/>
            </a:spcAft>
            <a:buClrTx/>
            <a:buSzTx/>
            <a:buFont typeface="Arial" panose="020B0604020202020204" pitchFamily="34" charset="0"/>
            <a:buNone/>
          </a:pPr>
          <a:r>
            <a:rPr lang="nl-NL" sz="800" dirty="0" err="1" smtClean="0"/>
            <a:t>Integratielaag</a:t>
          </a:r>
          <a:r>
            <a:rPr lang="nl-NL" sz="800" dirty="0" smtClean="0"/>
            <a:t> vv door Dell Boomi</a:t>
          </a:r>
        </a:p>
      </dgm:t>
    </dgm:pt>
    <dgm:pt modelId="{E1011E1B-B118-4875-B78A-2BFFE230438F}" type="parTrans" cxnId="{03C42A38-BDB9-4D6B-A478-6FFCEEADCCBC}">
      <dgm:prSet/>
      <dgm:spPr/>
      <dgm:t>
        <a:bodyPr/>
        <a:lstStyle/>
        <a:p>
          <a:endParaRPr lang="nl-NL" sz="1000"/>
        </a:p>
      </dgm:t>
    </dgm:pt>
    <dgm:pt modelId="{B22F1A8F-FD9D-4176-86A1-F295A23BFA9F}" type="sibTrans" cxnId="{03C42A38-BDB9-4D6B-A478-6FFCEEADCCBC}">
      <dgm:prSet/>
      <dgm:spPr/>
      <dgm:t>
        <a:bodyPr/>
        <a:lstStyle/>
        <a:p>
          <a:endParaRPr lang="nl-NL" sz="1000"/>
        </a:p>
      </dgm:t>
    </dgm:pt>
    <dgm:pt modelId="{1F00858C-756E-438F-ACFC-655C02058CEA}">
      <dgm:prSet custT="1"/>
      <dgm:spPr/>
      <dgm:t>
        <a:bodyPr/>
        <a:lstStyle/>
        <a:p>
          <a:endParaRPr lang="nl-NL" sz="900"/>
        </a:p>
      </dgm:t>
    </dgm:pt>
    <dgm:pt modelId="{3C5879BC-6281-4669-8BEF-2E0C6AD6F405}" type="parTrans" cxnId="{C355C560-CE03-445B-A62A-70AC2F8C5F66}">
      <dgm:prSet/>
      <dgm:spPr/>
      <dgm:t>
        <a:bodyPr/>
        <a:lstStyle/>
        <a:p>
          <a:endParaRPr lang="nl-NL" sz="1000"/>
        </a:p>
      </dgm:t>
    </dgm:pt>
    <dgm:pt modelId="{E87351C3-C3F4-4BF9-BC9D-FD82FB04DFC6}" type="sibTrans" cxnId="{C355C560-CE03-445B-A62A-70AC2F8C5F66}">
      <dgm:prSet/>
      <dgm:spPr/>
      <dgm:t>
        <a:bodyPr/>
        <a:lstStyle/>
        <a:p>
          <a:endParaRPr lang="nl-NL" sz="1000"/>
        </a:p>
      </dgm:t>
    </dgm:pt>
    <dgm:pt modelId="{2B87F55F-3DDA-4DB8-85DC-69C630658C4A}">
      <dgm:prSet custT="1"/>
      <dgm:spPr/>
      <dgm:t>
        <a:bodyPr/>
        <a:lstStyle/>
        <a:p>
          <a:endParaRPr lang="nl-NL" sz="900"/>
        </a:p>
      </dgm:t>
    </dgm:pt>
    <dgm:pt modelId="{E458CF27-D025-4F7B-B018-63E3837B169F}" type="parTrans" cxnId="{2E6CD061-5211-49EC-9292-53AC3A9AD1E4}">
      <dgm:prSet/>
      <dgm:spPr/>
      <dgm:t>
        <a:bodyPr/>
        <a:lstStyle/>
        <a:p>
          <a:endParaRPr lang="nl-NL" sz="1000"/>
        </a:p>
      </dgm:t>
    </dgm:pt>
    <dgm:pt modelId="{DE6A453F-2629-4B65-903F-D41D3D5F3A92}" type="sibTrans" cxnId="{2E6CD061-5211-49EC-9292-53AC3A9AD1E4}">
      <dgm:prSet/>
      <dgm:spPr/>
      <dgm:t>
        <a:bodyPr/>
        <a:lstStyle/>
        <a:p>
          <a:endParaRPr lang="nl-NL" sz="1000"/>
        </a:p>
      </dgm:t>
    </dgm:pt>
    <dgm:pt modelId="{23193460-2B00-4BBA-B2EF-55CC2B44251D}">
      <dgm:prSet custT="1"/>
      <dgm:spPr>
        <a:solidFill>
          <a:srgbClr val="C00000"/>
        </a:solidFill>
        <a:ln>
          <a:solidFill>
            <a:schemeClr val="bg1"/>
          </a:solidFill>
        </a:ln>
      </dgm:spPr>
      <dgm:t>
        <a:bodyPr/>
        <a:lstStyle/>
        <a:p>
          <a:r>
            <a:rPr lang="nl-NL" sz="1000" dirty="0">
              <a:solidFill>
                <a:schemeClr val="bg1"/>
              </a:solidFill>
            </a:rPr>
            <a:t>Digitalisering</a:t>
          </a:r>
        </a:p>
      </dgm:t>
    </dgm:pt>
    <dgm:pt modelId="{9039EAD3-CDDB-4CC8-A3AF-7A425DFF7FAF}" type="parTrans" cxnId="{9B937BAE-08F9-42AE-AC98-6AD3DC9FA8CB}">
      <dgm:prSet/>
      <dgm:spPr/>
      <dgm:t>
        <a:bodyPr/>
        <a:lstStyle/>
        <a:p>
          <a:endParaRPr lang="nl-NL" sz="1000"/>
        </a:p>
      </dgm:t>
    </dgm:pt>
    <dgm:pt modelId="{B40E2452-A66F-4500-9BFD-26EFE8F1C46C}" type="sibTrans" cxnId="{9B937BAE-08F9-42AE-AC98-6AD3DC9FA8CB}">
      <dgm:prSet/>
      <dgm:spPr/>
      <dgm:t>
        <a:bodyPr/>
        <a:lstStyle/>
        <a:p>
          <a:endParaRPr lang="nl-NL" sz="1000"/>
        </a:p>
      </dgm:t>
    </dgm:pt>
    <dgm:pt modelId="{77057A3B-3645-4900-95DC-090CD2DB9683}">
      <dgm:prSet custT="1"/>
      <dgm:spPr>
        <a:solidFill>
          <a:srgbClr val="C00000"/>
        </a:solidFill>
        <a:ln>
          <a:solidFill>
            <a:schemeClr val="bg1"/>
          </a:solidFill>
        </a:ln>
      </dgm:spPr>
      <dgm:t>
        <a:bodyPr/>
        <a:lstStyle/>
        <a:p>
          <a:r>
            <a:rPr lang="nl-NL" sz="1000" dirty="0" smtClean="0">
              <a:solidFill>
                <a:schemeClr val="bg1"/>
              </a:solidFill>
            </a:rPr>
            <a:t>Besturing informatie-domein</a:t>
          </a:r>
        </a:p>
      </dgm:t>
    </dgm:pt>
    <dgm:pt modelId="{0EC6A81B-C8FD-4EEF-8570-8C98DBB1A73C}" type="parTrans" cxnId="{1F843F8A-097C-4D1E-8BE9-55D51C74877D}">
      <dgm:prSet/>
      <dgm:spPr/>
      <dgm:t>
        <a:bodyPr/>
        <a:lstStyle/>
        <a:p>
          <a:endParaRPr lang="nl-NL" sz="1000"/>
        </a:p>
      </dgm:t>
    </dgm:pt>
    <dgm:pt modelId="{7A3E30EB-3E1C-4BF9-8CCF-CAA3571ACFB7}" type="sibTrans" cxnId="{1F843F8A-097C-4D1E-8BE9-55D51C74877D}">
      <dgm:prSet/>
      <dgm:spPr/>
      <dgm:t>
        <a:bodyPr/>
        <a:lstStyle/>
        <a:p>
          <a:endParaRPr lang="nl-NL" sz="1000"/>
        </a:p>
      </dgm:t>
    </dgm:pt>
    <dgm:pt modelId="{746BBA83-FC51-4B44-8C3D-F93ACED5A830}">
      <dgm:prSet custT="1"/>
      <dgm:spPr/>
      <dgm:t>
        <a:bodyPr/>
        <a:lstStyle/>
        <a:p>
          <a:endParaRPr lang="nl-NL" sz="900"/>
        </a:p>
      </dgm:t>
    </dgm:pt>
    <dgm:pt modelId="{43D31E03-9F7F-4CDB-BA1E-5B60E76E75A0}" type="parTrans" cxnId="{5C8C9688-845D-407B-8262-856083BB8B02}">
      <dgm:prSet/>
      <dgm:spPr/>
      <dgm:t>
        <a:bodyPr/>
        <a:lstStyle/>
        <a:p>
          <a:endParaRPr lang="nl-NL" sz="1000"/>
        </a:p>
      </dgm:t>
    </dgm:pt>
    <dgm:pt modelId="{645A86AD-7CFE-406C-A490-80E89BBD3A4A}" type="sibTrans" cxnId="{5C8C9688-845D-407B-8262-856083BB8B02}">
      <dgm:prSet/>
      <dgm:spPr/>
      <dgm:t>
        <a:bodyPr/>
        <a:lstStyle/>
        <a:p>
          <a:endParaRPr lang="nl-NL" sz="1000"/>
        </a:p>
      </dgm:t>
    </dgm:pt>
    <dgm:pt modelId="{20446483-3131-45C6-9B63-8672E75978B6}">
      <dgm:prSet custT="1"/>
      <dgm:spPr/>
      <dgm:t>
        <a:bodyPr/>
        <a:lstStyle/>
        <a:p>
          <a:endParaRPr lang="nl-NL" sz="900"/>
        </a:p>
      </dgm:t>
    </dgm:pt>
    <dgm:pt modelId="{C592FC82-2CCB-41D1-AB19-C1027B3220DC}" type="parTrans" cxnId="{6AC51181-18CA-4071-8671-E723CB2F83E3}">
      <dgm:prSet/>
      <dgm:spPr/>
      <dgm:t>
        <a:bodyPr/>
        <a:lstStyle/>
        <a:p>
          <a:endParaRPr lang="nl-NL" sz="1000"/>
        </a:p>
      </dgm:t>
    </dgm:pt>
    <dgm:pt modelId="{744972D6-F7F9-4325-9F4B-A70060987F27}" type="sibTrans" cxnId="{6AC51181-18CA-4071-8671-E723CB2F83E3}">
      <dgm:prSet/>
      <dgm:spPr/>
      <dgm:t>
        <a:bodyPr/>
        <a:lstStyle/>
        <a:p>
          <a:endParaRPr lang="nl-NL" sz="1000"/>
        </a:p>
      </dgm:t>
    </dgm:pt>
    <dgm:pt modelId="{6CE1A86C-5E74-4ADB-95CE-83D1024B8A1B}">
      <dgm:prSet custT="1"/>
      <dgm:spPr/>
      <dgm:t>
        <a:bodyPr/>
        <a:lstStyle/>
        <a:p>
          <a:r>
            <a:rPr lang="nl-NL" sz="900"/>
            <a:t>Vervangen maatwerk database- en workflow-applicatie (GRAS/Filenet)</a:t>
          </a:r>
        </a:p>
      </dgm:t>
    </dgm:pt>
    <dgm:pt modelId="{E68E1A5A-6E88-458A-8CB9-F2B234C35568}" type="parTrans" cxnId="{20E0196F-EDD9-474A-9FAF-DF8543639C6C}">
      <dgm:prSet/>
      <dgm:spPr/>
      <dgm:t>
        <a:bodyPr/>
        <a:lstStyle/>
        <a:p>
          <a:endParaRPr lang="nl-NL" sz="1000"/>
        </a:p>
      </dgm:t>
    </dgm:pt>
    <dgm:pt modelId="{CCAC4F14-E3B3-4CA3-9BF7-C73D5E00EE32}" type="sibTrans" cxnId="{20E0196F-EDD9-474A-9FAF-DF8543639C6C}">
      <dgm:prSet/>
      <dgm:spPr/>
      <dgm:t>
        <a:bodyPr/>
        <a:lstStyle/>
        <a:p>
          <a:endParaRPr lang="nl-NL" sz="1000"/>
        </a:p>
      </dgm:t>
    </dgm:pt>
    <dgm:pt modelId="{66E39E7D-DC2E-4284-993D-AFD4E5E98986}">
      <dgm:prSet custT="1"/>
      <dgm:spPr/>
      <dgm:t>
        <a:bodyPr/>
        <a:lstStyle/>
        <a:p>
          <a:endParaRPr lang="nl-NL" sz="900"/>
        </a:p>
      </dgm:t>
    </dgm:pt>
    <dgm:pt modelId="{D2917CAC-F82A-46EF-A20B-2F4A2F94E9FF}" type="parTrans" cxnId="{7B088858-B74C-43E2-9BE5-068D5D9E1AEB}">
      <dgm:prSet/>
      <dgm:spPr/>
      <dgm:t>
        <a:bodyPr/>
        <a:lstStyle/>
        <a:p>
          <a:endParaRPr lang="nl-NL" sz="1000"/>
        </a:p>
      </dgm:t>
    </dgm:pt>
    <dgm:pt modelId="{57835AF8-C1FC-4BCA-8913-7836892EA37D}" type="sibTrans" cxnId="{7B088858-B74C-43E2-9BE5-068D5D9E1AEB}">
      <dgm:prSet/>
      <dgm:spPr/>
      <dgm:t>
        <a:bodyPr/>
        <a:lstStyle/>
        <a:p>
          <a:endParaRPr lang="nl-NL" sz="1000"/>
        </a:p>
      </dgm:t>
    </dgm:pt>
    <dgm:pt modelId="{82B4419E-EA02-41F8-8851-D338BCF00BF0}">
      <dgm:prSet custT="1"/>
      <dgm:spPr/>
      <dgm:t>
        <a:bodyPr/>
        <a:lstStyle/>
        <a:p>
          <a:endParaRPr lang="nl-NL" sz="900"/>
        </a:p>
      </dgm:t>
    </dgm:pt>
    <dgm:pt modelId="{7A7B7C56-B4C7-4671-B013-0CA3A660B3FD}" type="parTrans" cxnId="{1E19AF31-A63C-4F46-B482-F715C1BB40D5}">
      <dgm:prSet/>
      <dgm:spPr/>
      <dgm:t>
        <a:bodyPr/>
        <a:lstStyle/>
        <a:p>
          <a:endParaRPr lang="nl-NL" sz="1000"/>
        </a:p>
      </dgm:t>
    </dgm:pt>
    <dgm:pt modelId="{90965BCE-1684-471D-AE9E-22ADC4D55E40}" type="sibTrans" cxnId="{1E19AF31-A63C-4F46-B482-F715C1BB40D5}">
      <dgm:prSet/>
      <dgm:spPr/>
      <dgm:t>
        <a:bodyPr/>
        <a:lstStyle/>
        <a:p>
          <a:endParaRPr lang="nl-NL" sz="1000"/>
        </a:p>
      </dgm:t>
    </dgm:pt>
    <dgm:pt modelId="{151429BB-703C-4837-AEAE-FB6E3DE6D505}">
      <dgm:prSet custT="1"/>
      <dgm:spPr/>
      <dgm:t>
        <a:bodyPr/>
        <a:lstStyle/>
        <a:p>
          <a:endParaRPr lang="nl-NL" sz="900" dirty="0"/>
        </a:p>
      </dgm:t>
    </dgm:pt>
    <dgm:pt modelId="{CE2A0741-45C2-4BEA-BD64-023BC7622332}" type="parTrans" cxnId="{8F30F11D-E87C-429F-A3B7-14360FA410AD}">
      <dgm:prSet/>
      <dgm:spPr/>
      <dgm:t>
        <a:bodyPr/>
        <a:lstStyle/>
        <a:p>
          <a:endParaRPr lang="nl-NL" sz="1000"/>
        </a:p>
      </dgm:t>
    </dgm:pt>
    <dgm:pt modelId="{31B627E5-D5DC-4932-8CC6-E7930B6676D9}" type="sibTrans" cxnId="{8F30F11D-E87C-429F-A3B7-14360FA410AD}">
      <dgm:prSet/>
      <dgm:spPr/>
      <dgm:t>
        <a:bodyPr/>
        <a:lstStyle/>
        <a:p>
          <a:endParaRPr lang="nl-NL" sz="1000"/>
        </a:p>
      </dgm:t>
    </dgm:pt>
    <dgm:pt modelId="{4E20D29C-B6C9-440B-AFF3-AEF13A3A4C36}">
      <dgm:prSet custT="1"/>
      <dgm:spPr/>
      <dgm:t>
        <a:bodyPr/>
        <a:lstStyle/>
        <a:p>
          <a:pPr>
            <a:spcAft>
              <a:spcPts val="600"/>
            </a:spcAft>
          </a:pPr>
          <a:r>
            <a:rPr lang="nl-NL" sz="900" dirty="0" smtClean="0"/>
            <a:t>Oude </a:t>
          </a:r>
          <a:r>
            <a:rPr lang="nl-NL" sz="900" dirty="0" err="1"/>
            <a:t>integratielaag</a:t>
          </a:r>
          <a:r>
            <a:rPr lang="nl-NL" sz="900" dirty="0"/>
            <a:t> en brieventool </a:t>
          </a:r>
          <a:r>
            <a:rPr lang="nl-NL" sz="900" dirty="0" err="1" smtClean="0"/>
            <a:t>uitfaseren</a:t>
          </a:r>
          <a:endParaRPr lang="nl-NL" sz="900" dirty="0" smtClean="0"/>
        </a:p>
        <a:p>
          <a:pPr>
            <a:spcAft>
              <a:spcPts val="600"/>
            </a:spcAft>
          </a:pPr>
          <a:endParaRPr lang="nl-NL" sz="900" dirty="0"/>
        </a:p>
      </dgm:t>
    </dgm:pt>
    <dgm:pt modelId="{0AC3526D-14AD-4864-BC54-CA2EC525943F}" type="parTrans" cxnId="{20329975-211D-4A3A-8C0F-DD54C84AD3BD}">
      <dgm:prSet/>
      <dgm:spPr/>
      <dgm:t>
        <a:bodyPr/>
        <a:lstStyle/>
        <a:p>
          <a:endParaRPr lang="nl-NL" sz="1000"/>
        </a:p>
      </dgm:t>
    </dgm:pt>
    <dgm:pt modelId="{18736C93-2A1D-4F22-8952-5A44ED9B99A1}" type="sibTrans" cxnId="{20329975-211D-4A3A-8C0F-DD54C84AD3BD}">
      <dgm:prSet/>
      <dgm:spPr/>
      <dgm:t>
        <a:bodyPr/>
        <a:lstStyle/>
        <a:p>
          <a:endParaRPr lang="nl-NL" sz="1000"/>
        </a:p>
      </dgm:t>
    </dgm:pt>
    <dgm:pt modelId="{AA8DBEC3-5730-473F-B244-820415D3B97D}">
      <dgm:prSet custT="1"/>
      <dgm:spPr/>
      <dgm:t>
        <a:bodyPr/>
        <a:lstStyle/>
        <a:p>
          <a:r>
            <a:rPr lang="nl-NL" sz="900"/>
            <a:t>Vervangen maatwerk database- en workflow-applicatie (GRAS/Filenet)</a:t>
          </a:r>
        </a:p>
      </dgm:t>
    </dgm:pt>
    <dgm:pt modelId="{FF21C5BA-C31C-4EE9-8435-9F3E74196BB2}" type="parTrans" cxnId="{A19ED3F0-D3F5-4544-A864-F0CB4CCF69B9}">
      <dgm:prSet/>
      <dgm:spPr/>
      <dgm:t>
        <a:bodyPr/>
        <a:lstStyle/>
        <a:p>
          <a:endParaRPr lang="nl-NL" sz="1000"/>
        </a:p>
      </dgm:t>
    </dgm:pt>
    <dgm:pt modelId="{016D74AE-0885-463A-8830-0E4EE253A780}" type="sibTrans" cxnId="{A19ED3F0-D3F5-4544-A864-F0CB4CCF69B9}">
      <dgm:prSet/>
      <dgm:spPr/>
      <dgm:t>
        <a:bodyPr/>
        <a:lstStyle/>
        <a:p>
          <a:endParaRPr lang="nl-NL" sz="1000"/>
        </a:p>
      </dgm:t>
    </dgm:pt>
    <dgm:pt modelId="{1CEA679C-96CA-460E-AC4E-1582F3BE9109}">
      <dgm:prSet custT="1"/>
      <dgm:spPr>
        <a:solidFill>
          <a:schemeClr val="accent1">
            <a:lumMod val="90000"/>
            <a:alpha val="90000"/>
          </a:schemeClr>
        </a:solidFill>
        <a:ln>
          <a:solidFill>
            <a:schemeClr val="accent1">
              <a:lumMod val="90000"/>
              <a:alpha val="90000"/>
            </a:schemeClr>
          </a:solidFill>
        </a:ln>
      </dgm:spPr>
      <dgm:t>
        <a:bodyPr/>
        <a:lstStyle/>
        <a:p>
          <a:r>
            <a:rPr lang="nl-NL" sz="900" dirty="0" err="1" smtClean="0"/>
            <a:t>Mediation</a:t>
          </a:r>
          <a:r>
            <a:rPr lang="nl-NL" sz="900" dirty="0" smtClean="0"/>
            <a:t> Proces</a:t>
          </a:r>
          <a:endParaRPr lang="nl-NL" sz="900" dirty="0"/>
        </a:p>
      </dgm:t>
    </dgm:pt>
    <dgm:pt modelId="{142C46B5-687D-479B-9E79-40DA7F5DEF44}" type="parTrans" cxnId="{FF888F5F-DB76-4362-9E36-8483708879BB}">
      <dgm:prSet/>
      <dgm:spPr/>
      <dgm:t>
        <a:bodyPr/>
        <a:lstStyle/>
        <a:p>
          <a:endParaRPr lang="nl-NL" sz="1000"/>
        </a:p>
      </dgm:t>
    </dgm:pt>
    <dgm:pt modelId="{6F495585-C16D-46B3-BD6D-CD5560F9DB86}" type="sibTrans" cxnId="{FF888F5F-DB76-4362-9E36-8483708879BB}">
      <dgm:prSet/>
      <dgm:spPr/>
      <dgm:t>
        <a:bodyPr/>
        <a:lstStyle/>
        <a:p>
          <a:endParaRPr lang="nl-NL" sz="1000"/>
        </a:p>
      </dgm:t>
    </dgm:pt>
    <dgm:pt modelId="{9A17E9D9-E8F2-4A3D-B3C2-0BF77FF6D42E}">
      <dgm:prSet custT="1"/>
      <dgm:spPr/>
      <dgm:t>
        <a:bodyPr/>
        <a:lstStyle/>
        <a:p>
          <a:pPr>
            <a:spcAft>
              <a:spcPts val="600"/>
            </a:spcAft>
          </a:pPr>
          <a:r>
            <a:rPr lang="nl-NL" sz="800" dirty="0" smtClean="0"/>
            <a:t>Beroep- &amp; Bezwaarprocessen</a:t>
          </a:r>
        </a:p>
        <a:p>
          <a:pPr>
            <a:spcAft>
              <a:spcPts val="600"/>
            </a:spcAft>
          </a:pPr>
          <a:r>
            <a:rPr lang="nl-NL" sz="800" dirty="0" smtClean="0"/>
            <a:t>Proces </a:t>
          </a:r>
          <a:r>
            <a:rPr lang="nl-NL" sz="800" dirty="0"/>
            <a:t>asielaanvragen</a:t>
          </a:r>
        </a:p>
        <a:p>
          <a:pPr>
            <a:spcAft>
              <a:spcPts val="600"/>
            </a:spcAft>
          </a:pPr>
          <a:r>
            <a:rPr lang="nl-NL" sz="800" dirty="0"/>
            <a:t>Toevoegen stukken aan dossier</a:t>
          </a:r>
        </a:p>
      </dgm:t>
    </dgm:pt>
    <dgm:pt modelId="{1E3B8620-2598-4AD1-B142-4BF992FCC7D5}" type="parTrans" cxnId="{7BFCD170-6D7A-4815-B43E-FC0D2CF65DDA}">
      <dgm:prSet/>
      <dgm:spPr/>
      <dgm:t>
        <a:bodyPr/>
        <a:lstStyle/>
        <a:p>
          <a:endParaRPr lang="nl-NL" sz="1000"/>
        </a:p>
      </dgm:t>
    </dgm:pt>
    <dgm:pt modelId="{E69B4927-D436-46DC-B02B-BBE2B2FB337F}" type="sibTrans" cxnId="{7BFCD170-6D7A-4815-B43E-FC0D2CF65DDA}">
      <dgm:prSet/>
      <dgm:spPr/>
      <dgm:t>
        <a:bodyPr/>
        <a:lstStyle/>
        <a:p>
          <a:endParaRPr lang="nl-NL" sz="1000"/>
        </a:p>
      </dgm:t>
    </dgm:pt>
    <dgm:pt modelId="{7EDDC5A2-9A6F-4101-B5CB-77EDED0EB09F}">
      <dgm:prSet custT="1"/>
      <dgm:spPr/>
      <dgm:t>
        <a:bodyPr/>
        <a:lstStyle/>
        <a:p>
          <a:r>
            <a:rPr lang="nl-NL" sz="900" dirty="0"/>
            <a:t>(Proces extra uren)</a:t>
          </a:r>
        </a:p>
        <a:p>
          <a:r>
            <a:rPr lang="nl-NL" sz="900" dirty="0"/>
            <a:t>Lasten </a:t>
          </a:r>
          <a:r>
            <a:rPr lang="nl-NL" sz="900" dirty="0" smtClean="0"/>
            <a:t>proces</a:t>
          </a:r>
        </a:p>
      </dgm:t>
    </dgm:pt>
    <dgm:pt modelId="{994A2668-1209-4FF4-84C6-EBEFEE5719F7}" type="parTrans" cxnId="{3C475407-F480-4626-964A-7BA9A53E8463}">
      <dgm:prSet/>
      <dgm:spPr/>
      <dgm:t>
        <a:bodyPr/>
        <a:lstStyle/>
        <a:p>
          <a:endParaRPr lang="nl-NL" sz="1000"/>
        </a:p>
      </dgm:t>
    </dgm:pt>
    <dgm:pt modelId="{6F48EEA3-B2B6-4574-A8AF-5F75DE2E1693}" type="sibTrans" cxnId="{3C475407-F480-4626-964A-7BA9A53E8463}">
      <dgm:prSet/>
      <dgm:spPr/>
      <dgm:t>
        <a:bodyPr/>
        <a:lstStyle/>
        <a:p>
          <a:endParaRPr lang="nl-NL" sz="1000"/>
        </a:p>
      </dgm:t>
    </dgm:pt>
    <dgm:pt modelId="{27A89387-7B3B-4188-A28B-6E38537CFD19}">
      <dgm:prSet custT="1"/>
      <dgm:spPr>
        <a:solidFill>
          <a:schemeClr val="accent1">
            <a:lumMod val="90000"/>
            <a:alpha val="90000"/>
          </a:schemeClr>
        </a:solidFill>
        <a:ln>
          <a:solidFill>
            <a:schemeClr val="accent1">
              <a:lumMod val="90000"/>
              <a:alpha val="90000"/>
            </a:schemeClr>
          </a:solidFill>
        </a:ln>
      </dgm:spPr>
      <dgm:t>
        <a:bodyPr/>
        <a:lstStyle/>
        <a:p>
          <a:pPr>
            <a:spcAft>
              <a:spcPts val="600"/>
            </a:spcAft>
          </a:pPr>
          <a:r>
            <a:rPr lang="nl-NL" sz="800" dirty="0" smtClean="0"/>
            <a:t>Professionalisering </a:t>
          </a:r>
          <a:r>
            <a:rPr lang="nl-NL" sz="800" dirty="0"/>
            <a:t>IM-organisatie</a:t>
          </a:r>
        </a:p>
        <a:p>
          <a:pPr>
            <a:spcAft>
              <a:spcPts val="600"/>
            </a:spcAft>
          </a:pPr>
          <a:r>
            <a:rPr lang="nl-NL" sz="800" dirty="0"/>
            <a:t>Ontwikkeling en beheer samenbrengen</a:t>
          </a:r>
        </a:p>
      </dgm:t>
    </dgm:pt>
    <dgm:pt modelId="{3740C790-FB91-4EEF-9193-83BDD7896895}" type="parTrans" cxnId="{0F2B4D9A-D250-4509-8C2D-04C9963529A6}">
      <dgm:prSet/>
      <dgm:spPr/>
      <dgm:t>
        <a:bodyPr/>
        <a:lstStyle/>
        <a:p>
          <a:endParaRPr lang="nl-NL" sz="1000"/>
        </a:p>
      </dgm:t>
    </dgm:pt>
    <dgm:pt modelId="{FCD6D5E8-E559-4B35-8AD2-0764F3E4CB3B}" type="sibTrans" cxnId="{0F2B4D9A-D250-4509-8C2D-04C9963529A6}">
      <dgm:prSet/>
      <dgm:spPr/>
      <dgm:t>
        <a:bodyPr/>
        <a:lstStyle/>
        <a:p>
          <a:endParaRPr lang="nl-NL" sz="1000"/>
        </a:p>
      </dgm:t>
    </dgm:pt>
    <dgm:pt modelId="{6292E6EC-41DE-43DC-8EBD-D60A29E30E3A}">
      <dgm:prSet custT="1"/>
      <dgm:spPr/>
      <dgm:t>
        <a:bodyPr lIns="0"/>
        <a:lstStyle/>
        <a:p>
          <a:pPr>
            <a:spcAft>
              <a:spcPts val="400"/>
            </a:spcAft>
          </a:pPr>
          <a:r>
            <a:rPr lang="nl-NL" sz="800" dirty="0"/>
            <a:t>Inrichting Leveranciers- &amp; contractmanagement</a:t>
          </a:r>
        </a:p>
        <a:p>
          <a:pPr>
            <a:spcAft>
              <a:spcPts val="400"/>
            </a:spcAft>
          </a:pPr>
          <a:r>
            <a:rPr lang="nl-NL" sz="800" dirty="0" smtClean="0"/>
            <a:t>Professionalisering </a:t>
          </a:r>
          <a:r>
            <a:rPr lang="nl-NL" sz="800" dirty="0"/>
            <a:t>ICT inkoop</a:t>
          </a:r>
        </a:p>
        <a:p>
          <a:pPr>
            <a:spcAft>
              <a:spcPts val="400"/>
            </a:spcAft>
          </a:pPr>
          <a:r>
            <a:rPr lang="nl-NL" sz="800" dirty="0"/>
            <a:t>Data </a:t>
          </a:r>
          <a:r>
            <a:rPr lang="nl-NL" sz="800" dirty="0" err="1"/>
            <a:t>Governance</a:t>
          </a:r>
          <a:endParaRPr lang="nl-NL" sz="800" dirty="0"/>
        </a:p>
      </dgm:t>
    </dgm:pt>
    <dgm:pt modelId="{0E4480AF-2094-4189-98C1-03DE33A39523}" type="parTrans" cxnId="{B35D16C5-CE97-4817-8DCB-A32915EBD9A3}">
      <dgm:prSet/>
      <dgm:spPr/>
      <dgm:t>
        <a:bodyPr/>
        <a:lstStyle/>
        <a:p>
          <a:endParaRPr lang="nl-NL" sz="1000"/>
        </a:p>
      </dgm:t>
    </dgm:pt>
    <dgm:pt modelId="{4E923F6B-0FC9-4D73-B3A0-BF03729328D8}" type="sibTrans" cxnId="{B35D16C5-CE97-4817-8DCB-A32915EBD9A3}">
      <dgm:prSet/>
      <dgm:spPr/>
      <dgm:t>
        <a:bodyPr/>
        <a:lstStyle/>
        <a:p>
          <a:endParaRPr lang="nl-NL" sz="1000"/>
        </a:p>
      </dgm:t>
    </dgm:pt>
    <dgm:pt modelId="{C869D024-6F94-4126-B283-6DC434C89154}">
      <dgm:prSet custT="1"/>
      <dgm:spPr/>
      <dgm:t>
        <a:bodyPr/>
        <a:lstStyle/>
        <a:p>
          <a:endParaRPr lang="nl-NL" sz="900"/>
        </a:p>
      </dgm:t>
    </dgm:pt>
    <dgm:pt modelId="{065D051E-7E8B-4B3A-8F40-D8B67EEB97E8}" type="parTrans" cxnId="{7CE56B18-CF79-43BF-AA17-4A5CA53C6967}">
      <dgm:prSet/>
      <dgm:spPr/>
      <dgm:t>
        <a:bodyPr/>
        <a:lstStyle/>
        <a:p>
          <a:endParaRPr lang="nl-NL" sz="1000"/>
        </a:p>
      </dgm:t>
    </dgm:pt>
    <dgm:pt modelId="{16ACF173-BA7E-4685-843F-5588E59D116A}" type="sibTrans" cxnId="{7CE56B18-CF79-43BF-AA17-4A5CA53C6967}">
      <dgm:prSet/>
      <dgm:spPr/>
      <dgm:t>
        <a:bodyPr/>
        <a:lstStyle/>
        <a:p>
          <a:endParaRPr lang="nl-NL" sz="1000"/>
        </a:p>
      </dgm:t>
    </dgm:pt>
    <dgm:pt modelId="{62D61A53-2D9E-484A-A2DF-FA5F8026FDCE}">
      <dgm:prSet custT="1"/>
      <dgm:spPr/>
      <dgm:t>
        <a:bodyPr/>
        <a:lstStyle/>
        <a:p>
          <a:endParaRPr lang="nl-NL" sz="900"/>
        </a:p>
      </dgm:t>
    </dgm:pt>
    <dgm:pt modelId="{378F7EAA-89FC-40D8-A78F-65E528C91DC0}" type="parTrans" cxnId="{40D9CC99-76AD-4E8E-A1AC-7A60971EB6FF}">
      <dgm:prSet/>
      <dgm:spPr/>
      <dgm:t>
        <a:bodyPr/>
        <a:lstStyle/>
        <a:p>
          <a:endParaRPr lang="nl-NL" sz="1000"/>
        </a:p>
      </dgm:t>
    </dgm:pt>
    <dgm:pt modelId="{0741CA5F-C53B-4587-A516-C633F65D31E4}" type="sibTrans" cxnId="{40D9CC99-76AD-4E8E-A1AC-7A60971EB6FF}">
      <dgm:prSet/>
      <dgm:spPr/>
      <dgm:t>
        <a:bodyPr/>
        <a:lstStyle/>
        <a:p>
          <a:endParaRPr lang="nl-NL" sz="1000"/>
        </a:p>
      </dgm:t>
    </dgm:pt>
    <dgm:pt modelId="{8835A891-43B3-4F45-A35D-0FEC54C4FA75}">
      <dgm:prSet custT="1"/>
      <dgm:spPr/>
      <dgm:t>
        <a:bodyPr/>
        <a:lstStyle/>
        <a:p>
          <a:endParaRPr lang="nl-NL" sz="900" dirty="0"/>
        </a:p>
      </dgm:t>
    </dgm:pt>
    <dgm:pt modelId="{6E2213D1-0573-4675-98DA-0076CF75465F}" type="parTrans" cxnId="{07B7B9FE-65A9-44AC-B2BC-1638D12F3448}">
      <dgm:prSet/>
      <dgm:spPr/>
      <dgm:t>
        <a:bodyPr/>
        <a:lstStyle/>
        <a:p>
          <a:endParaRPr lang="nl-NL" sz="1000"/>
        </a:p>
      </dgm:t>
    </dgm:pt>
    <dgm:pt modelId="{6558BD01-4C77-4722-AF95-E83635287790}" type="sibTrans" cxnId="{07B7B9FE-65A9-44AC-B2BC-1638D12F3448}">
      <dgm:prSet/>
      <dgm:spPr/>
      <dgm:t>
        <a:bodyPr/>
        <a:lstStyle/>
        <a:p>
          <a:endParaRPr lang="nl-NL" sz="1000"/>
        </a:p>
      </dgm:t>
    </dgm:pt>
    <dgm:pt modelId="{70E24202-5799-4363-BEB8-A6A555C92004}">
      <dgm:prSet custT="1"/>
      <dgm:spPr/>
      <dgm:t>
        <a:bodyPr/>
        <a:lstStyle/>
        <a:p>
          <a:endParaRPr lang="nl-NL" sz="900" dirty="0">
            <a:solidFill>
              <a:schemeClr val="tx1"/>
            </a:solidFill>
          </a:endParaRPr>
        </a:p>
      </dgm:t>
    </dgm:pt>
    <dgm:pt modelId="{298DED62-54D1-4E74-839B-377420A8439D}" type="parTrans" cxnId="{334762A0-DC37-4D02-9AF7-5835C698C5B5}">
      <dgm:prSet/>
      <dgm:spPr/>
      <dgm:t>
        <a:bodyPr/>
        <a:lstStyle/>
        <a:p>
          <a:endParaRPr lang="nl-NL"/>
        </a:p>
      </dgm:t>
    </dgm:pt>
    <dgm:pt modelId="{23142C11-E321-427B-916C-F99E70BC7B6D}" type="sibTrans" cxnId="{334762A0-DC37-4D02-9AF7-5835C698C5B5}">
      <dgm:prSet/>
      <dgm:spPr/>
      <dgm:t>
        <a:bodyPr/>
        <a:lstStyle/>
        <a:p>
          <a:endParaRPr lang="nl-NL"/>
        </a:p>
      </dgm:t>
    </dgm:pt>
    <dgm:pt modelId="{6D8F2393-DBD3-466D-BB9D-AE10062D1E45}">
      <dgm:prSet phldrT="[Tekst]" custT="1"/>
      <dgm:spPr>
        <a:solidFill>
          <a:schemeClr val="accent1">
            <a:lumMod val="90000"/>
            <a:alpha val="90000"/>
          </a:schemeClr>
        </a:solidFill>
        <a:ln>
          <a:solidFill>
            <a:schemeClr val="accent1">
              <a:lumMod val="90000"/>
              <a:alpha val="90000"/>
            </a:schemeClr>
          </a:solidFill>
        </a:ln>
      </dgm:spPr>
      <dgm:t>
        <a:bodyPr/>
        <a:lstStyle/>
        <a:p>
          <a:pPr marL="0" indent="0">
            <a:spcAft>
              <a:spcPct val="35000"/>
            </a:spcAft>
            <a:buFont typeface="+mj-lt"/>
            <a:buNone/>
          </a:pPr>
          <a:r>
            <a:rPr lang="nl-NL" sz="800" dirty="0" smtClean="0"/>
            <a:t>Interne capaciteit architecten op orde</a:t>
          </a:r>
        </a:p>
        <a:p>
          <a:pPr marL="0" indent="0">
            <a:spcAft>
              <a:spcPct val="35000"/>
            </a:spcAft>
            <a:buFont typeface="+mj-lt"/>
            <a:buNone/>
          </a:pPr>
          <a:r>
            <a:rPr lang="nl-NL" sz="800" dirty="0" smtClean="0">
              <a:solidFill>
                <a:schemeClr val="tx1"/>
              </a:solidFill>
            </a:rPr>
            <a:t>Architectuurbewustzijn gehele organisatie</a:t>
          </a:r>
        </a:p>
        <a:p>
          <a:pPr marL="0" indent="0">
            <a:spcAft>
              <a:spcPct val="35000"/>
            </a:spcAft>
            <a:buFont typeface="+mj-lt"/>
            <a:buNone/>
          </a:pPr>
          <a:r>
            <a:rPr lang="nl-NL" sz="800" dirty="0" err="1" smtClean="0">
              <a:solidFill>
                <a:schemeClr val="tx1"/>
              </a:solidFill>
            </a:rPr>
            <a:t>Api</a:t>
          </a:r>
          <a:r>
            <a:rPr lang="nl-NL" sz="800" dirty="0" smtClean="0">
              <a:solidFill>
                <a:schemeClr val="tx1"/>
              </a:solidFill>
            </a:rPr>
            <a:t>-beleid en Cloudstrategie</a:t>
          </a:r>
          <a:endParaRPr lang="nl-NL" sz="800" dirty="0">
            <a:solidFill>
              <a:schemeClr val="tx1"/>
            </a:solidFill>
          </a:endParaRPr>
        </a:p>
      </dgm:t>
    </dgm:pt>
    <dgm:pt modelId="{03DE5228-1E63-4C54-9AE4-3B883B2F1DBA}" type="sibTrans" cxnId="{D65ABC08-8E9F-48FB-9C91-F5256B3DDC67}">
      <dgm:prSet/>
      <dgm:spPr/>
      <dgm:t>
        <a:bodyPr/>
        <a:lstStyle/>
        <a:p>
          <a:endParaRPr lang="nl-NL" sz="1000"/>
        </a:p>
      </dgm:t>
    </dgm:pt>
    <dgm:pt modelId="{583416F9-FBC6-4C82-8614-951CEE12CD70}" type="parTrans" cxnId="{D65ABC08-8E9F-48FB-9C91-F5256B3DDC67}">
      <dgm:prSet/>
      <dgm:spPr/>
      <dgm:t>
        <a:bodyPr/>
        <a:lstStyle/>
        <a:p>
          <a:endParaRPr lang="nl-NL" sz="1000"/>
        </a:p>
      </dgm:t>
    </dgm:pt>
    <dgm:pt modelId="{1DE78E1A-287A-4644-911E-2C3E7FDD395B}" type="pres">
      <dgm:prSet presAssocID="{A4C25754-AF2E-445A-B1C4-208C361E3027}" presName="Name0" presStyleCnt="0">
        <dgm:presLayoutVars>
          <dgm:chPref val="3"/>
          <dgm:dir/>
          <dgm:animLvl val="lvl"/>
          <dgm:resizeHandles/>
        </dgm:presLayoutVars>
      </dgm:prSet>
      <dgm:spPr/>
      <dgm:t>
        <a:bodyPr/>
        <a:lstStyle/>
        <a:p>
          <a:endParaRPr lang="nl-NL"/>
        </a:p>
      </dgm:t>
    </dgm:pt>
    <dgm:pt modelId="{1A84AAE2-0808-451B-B00F-51978064A56A}" type="pres">
      <dgm:prSet presAssocID="{647DD7A5-0012-436B-BAB9-BDE52DC25B90}" presName="horFlow" presStyleCnt="0"/>
      <dgm:spPr/>
    </dgm:pt>
    <dgm:pt modelId="{F6E04653-AC57-46CE-A503-3CBBAD1D7D39}" type="pres">
      <dgm:prSet presAssocID="{647DD7A5-0012-436B-BAB9-BDE52DC25B90}" presName="bigChev" presStyleLbl="node1" presStyleIdx="0" presStyleCnt="5" custScaleX="84206" custScaleY="78283" custLinFactNeighborX="-866" custLinFactNeighborY="-8105"/>
      <dgm:spPr/>
      <dgm:t>
        <a:bodyPr/>
        <a:lstStyle/>
        <a:p>
          <a:endParaRPr lang="nl-NL"/>
        </a:p>
      </dgm:t>
    </dgm:pt>
    <dgm:pt modelId="{2FD405EF-9A12-4113-837F-4235A9C8BCDF}" type="pres">
      <dgm:prSet presAssocID="{583416F9-FBC6-4C82-8614-951CEE12CD70}" presName="parTrans" presStyleCnt="0"/>
      <dgm:spPr/>
    </dgm:pt>
    <dgm:pt modelId="{9E6C8AC0-5D21-43F3-83C4-CC1B7203E690}" type="pres">
      <dgm:prSet presAssocID="{6D8F2393-DBD3-466D-BB9D-AE10062D1E45}" presName="node" presStyleLbl="alignAccFollowNode1" presStyleIdx="0" presStyleCnt="25" custScaleX="119879" custScaleY="94317" custLinFactNeighborX="-969" custLinFactNeighborY="-9765">
        <dgm:presLayoutVars>
          <dgm:bulletEnabled val="1"/>
        </dgm:presLayoutVars>
      </dgm:prSet>
      <dgm:spPr/>
      <dgm:t>
        <a:bodyPr/>
        <a:lstStyle/>
        <a:p>
          <a:endParaRPr lang="nl-NL"/>
        </a:p>
      </dgm:t>
    </dgm:pt>
    <dgm:pt modelId="{12437B27-DC93-4BD7-BC2C-B48051EB2B27}" type="pres">
      <dgm:prSet presAssocID="{03DE5228-1E63-4C54-9AE4-3B883B2F1DBA}" presName="sibTrans" presStyleCnt="0"/>
      <dgm:spPr/>
    </dgm:pt>
    <dgm:pt modelId="{5F155100-7715-4A17-90EE-690DB2345E60}" type="pres">
      <dgm:prSet presAssocID="{545954EC-4953-467F-8E27-933BAB5A8E05}" presName="node" presStyleLbl="alignAccFollowNode1" presStyleIdx="1" presStyleCnt="25" custScaleX="119879" custScaleY="94317" custLinFactNeighborX="-969" custLinFactNeighborY="-9765">
        <dgm:presLayoutVars>
          <dgm:bulletEnabled val="1"/>
        </dgm:presLayoutVars>
      </dgm:prSet>
      <dgm:spPr/>
      <dgm:t>
        <a:bodyPr/>
        <a:lstStyle/>
        <a:p>
          <a:endParaRPr lang="nl-NL"/>
        </a:p>
      </dgm:t>
    </dgm:pt>
    <dgm:pt modelId="{556E6604-75C8-47B9-8F4D-7B0C112FFCB2}" type="pres">
      <dgm:prSet presAssocID="{3195B29B-0B9A-47B3-B2F4-4FDC8876F8E7}" presName="sibTrans" presStyleCnt="0"/>
      <dgm:spPr/>
    </dgm:pt>
    <dgm:pt modelId="{C6C71CD6-3C52-4436-AED6-1475095E6966}" type="pres">
      <dgm:prSet presAssocID="{70E24202-5799-4363-BEB8-A6A555C92004}" presName="node" presStyleLbl="alignAccFollowNode1" presStyleIdx="2" presStyleCnt="25" custScaleX="119177" custScaleY="94317" custLinFactNeighborX="-969" custLinFactNeighborY="-9765">
        <dgm:presLayoutVars>
          <dgm:bulletEnabled val="1"/>
        </dgm:presLayoutVars>
      </dgm:prSet>
      <dgm:spPr/>
      <dgm:t>
        <a:bodyPr/>
        <a:lstStyle/>
        <a:p>
          <a:endParaRPr lang="nl-NL"/>
        </a:p>
      </dgm:t>
    </dgm:pt>
    <dgm:pt modelId="{99CF8EAF-830F-4A44-A2D6-553AE709BF0C}" type="pres">
      <dgm:prSet presAssocID="{23142C11-E321-427B-916C-F99E70BC7B6D}" presName="sibTrans" presStyleCnt="0"/>
      <dgm:spPr/>
    </dgm:pt>
    <dgm:pt modelId="{6F58A52D-AFF9-49F5-8538-1AB9A54C1571}" type="pres">
      <dgm:prSet presAssocID="{1F00858C-756E-438F-ACFC-655C02058CEA}" presName="node" presStyleLbl="alignAccFollowNode1" presStyleIdx="3" presStyleCnt="25" custScaleX="119879" custScaleY="94317" custLinFactNeighborX="-969" custLinFactNeighborY="-9765">
        <dgm:presLayoutVars>
          <dgm:bulletEnabled val="1"/>
        </dgm:presLayoutVars>
      </dgm:prSet>
      <dgm:spPr/>
      <dgm:t>
        <a:bodyPr/>
        <a:lstStyle/>
        <a:p>
          <a:endParaRPr lang="nl-NL"/>
        </a:p>
      </dgm:t>
    </dgm:pt>
    <dgm:pt modelId="{26A65A6A-FEA9-4FF4-AB74-E96C5C5FD924}" type="pres">
      <dgm:prSet presAssocID="{E87351C3-C3F4-4BF9-BC9D-FD82FB04DFC6}" presName="sibTrans" presStyleCnt="0"/>
      <dgm:spPr/>
    </dgm:pt>
    <dgm:pt modelId="{9DA68F1C-8A13-4764-9EED-8C5C1AC113E6}" type="pres">
      <dgm:prSet presAssocID="{2B87F55F-3DDA-4DB8-85DC-69C630658C4A}" presName="node" presStyleLbl="alignAccFollowNode1" presStyleIdx="4" presStyleCnt="25" custScaleX="119879" custScaleY="94317" custLinFactNeighborX="-969" custLinFactNeighborY="-9765">
        <dgm:presLayoutVars>
          <dgm:bulletEnabled val="1"/>
        </dgm:presLayoutVars>
      </dgm:prSet>
      <dgm:spPr/>
      <dgm:t>
        <a:bodyPr/>
        <a:lstStyle/>
        <a:p>
          <a:endParaRPr lang="nl-NL"/>
        </a:p>
      </dgm:t>
    </dgm:pt>
    <dgm:pt modelId="{0D952C92-7C21-4671-AE94-64DCC08CB47C}" type="pres">
      <dgm:prSet presAssocID="{647DD7A5-0012-436B-BAB9-BDE52DC25B90}" presName="vSp" presStyleCnt="0"/>
      <dgm:spPr/>
    </dgm:pt>
    <dgm:pt modelId="{FED88096-892B-4EC2-9E54-1AC122C68345}" type="pres">
      <dgm:prSet presAssocID="{22C9BA16-C912-4AB8-B16E-FF797935FE95}" presName="horFlow" presStyleCnt="0"/>
      <dgm:spPr/>
    </dgm:pt>
    <dgm:pt modelId="{45A1425D-2946-43E1-B1EC-77043B192449}" type="pres">
      <dgm:prSet presAssocID="{22C9BA16-C912-4AB8-B16E-FF797935FE95}" presName="bigChev" presStyleLbl="node1" presStyleIdx="1" presStyleCnt="5" custScaleX="84206" custScaleY="78283" custLinFactNeighborX="-866" custLinFactNeighborY="-12797"/>
      <dgm:spPr/>
      <dgm:t>
        <a:bodyPr/>
        <a:lstStyle/>
        <a:p>
          <a:endParaRPr lang="nl-NL"/>
        </a:p>
      </dgm:t>
    </dgm:pt>
    <dgm:pt modelId="{6EDFC9BE-7488-47C8-9C6B-A9C6D1E82C02}" type="pres">
      <dgm:prSet presAssocID="{7C76C83D-CE5B-4D7C-AD83-B4E39CEEF00A}" presName="parTrans" presStyleCnt="0"/>
      <dgm:spPr/>
    </dgm:pt>
    <dgm:pt modelId="{050DB05E-783F-4CCF-9747-F95A7E32D478}" type="pres">
      <dgm:prSet presAssocID="{17FA8828-52A2-4AF5-B391-AB85135831D1}" presName="node" presStyleLbl="alignAccFollowNode1" presStyleIdx="5" presStyleCnt="25" custScaleX="119879" custScaleY="94317" custLinFactNeighborX="-969" custLinFactNeighborY="-15418">
        <dgm:presLayoutVars>
          <dgm:bulletEnabled val="1"/>
        </dgm:presLayoutVars>
      </dgm:prSet>
      <dgm:spPr/>
      <dgm:t>
        <a:bodyPr/>
        <a:lstStyle/>
        <a:p>
          <a:endParaRPr lang="nl-NL"/>
        </a:p>
      </dgm:t>
    </dgm:pt>
    <dgm:pt modelId="{3F8234F6-BDB0-48B1-8C45-48C899BF167B}" type="pres">
      <dgm:prSet presAssocID="{5831FBD0-5DF6-4737-9D40-31BD670C5784}" presName="sibTrans" presStyleCnt="0"/>
      <dgm:spPr/>
    </dgm:pt>
    <dgm:pt modelId="{EE523708-1E1B-4AAA-A918-8F0DB46124F9}" type="pres">
      <dgm:prSet presAssocID="{1C057D00-7046-4C92-8845-E659397CD6FE}" presName="node" presStyleLbl="alignAccFollowNode1" presStyleIdx="6" presStyleCnt="25" custScaleX="119879" custScaleY="94317" custLinFactNeighborX="-969" custLinFactNeighborY="-15418">
        <dgm:presLayoutVars>
          <dgm:bulletEnabled val="1"/>
        </dgm:presLayoutVars>
      </dgm:prSet>
      <dgm:spPr/>
      <dgm:t>
        <a:bodyPr/>
        <a:lstStyle/>
        <a:p>
          <a:endParaRPr lang="nl-NL"/>
        </a:p>
      </dgm:t>
    </dgm:pt>
    <dgm:pt modelId="{394A353D-2412-4CC3-8B67-F3A0F8C998EB}" type="pres">
      <dgm:prSet presAssocID="{9F92A93D-431C-4D58-AC15-E971BD7417E8}" presName="sibTrans" presStyleCnt="0"/>
      <dgm:spPr/>
    </dgm:pt>
    <dgm:pt modelId="{87B307EE-F7E3-478C-99DF-363D7920F82C}" type="pres">
      <dgm:prSet presAssocID="{151429BB-703C-4837-AEAE-FB6E3DE6D505}" presName="node" presStyleLbl="alignAccFollowNode1" presStyleIdx="7" presStyleCnt="25" custScaleX="119879" custScaleY="94317" custLinFactNeighborX="-969" custLinFactNeighborY="-15418">
        <dgm:presLayoutVars>
          <dgm:bulletEnabled val="1"/>
        </dgm:presLayoutVars>
      </dgm:prSet>
      <dgm:spPr/>
      <dgm:t>
        <a:bodyPr/>
        <a:lstStyle/>
        <a:p>
          <a:endParaRPr lang="nl-NL"/>
        </a:p>
      </dgm:t>
    </dgm:pt>
    <dgm:pt modelId="{1F7177C5-C327-4167-AB92-530115D8A37A}" type="pres">
      <dgm:prSet presAssocID="{31B627E5-D5DC-4932-8CC6-E7930B6676D9}" presName="sibTrans" presStyleCnt="0"/>
      <dgm:spPr/>
    </dgm:pt>
    <dgm:pt modelId="{CED8139D-1618-489C-91A6-6B435D2A051E}" type="pres">
      <dgm:prSet presAssocID="{746BBA83-FC51-4B44-8C3D-F93ACED5A830}" presName="node" presStyleLbl="alignAccFollowNode1" presStyleIdx="8" presStyleCnt="25" custScaleX="119879" custScaleY="94317" custLinFactNeighborX="-969" custLinFactNeighborY="-15418">
        <dgm:presLayoutVars>
          <dgm:bulletEnabled val="1"/>
        </dgm:presLayoutVars>
      </dgm:prSet>
      <dgm:spPr/>
      <dgm:t>
        <a:bodyPr/>
        <a:lstStyle/>
        <a:p>
          <a:endParaRPr lang="nl-NL"/>
        </a:p>
      </dgm:t>
    </dgm:pt>
    <dgm:pt modelId="{232C0BA6-DDAE-4F0C-A30C-002BE01369D9}" type="pres">
      <dgm:prSet presAssocID="{645A86AD-7CFE-406C-A490-80E89BBD3A4A}" presName="sibTrans" presStyleCnt="0"/>
      <dgm:spPr/>
    </dgm:pt>
    <dgm:pt modelId="{76A59E32-1369-43F3-BA20-12EAEE339E49}" type="pres">
      <dgm:prSet presAssocID="{20446483-3131-45C6-9B63-8672E75978B6}" presName="node" presStyleLbl="alignAccFollowNode1" presStyleIdx="9" presStyleCnt="25" custScaleX="119879" custScaleY="94317" custLinFactNeighborX="-969" custLinFactNeighborY="-15418">
        <dgm:presLayoutVars>
          <dgm:bulletEnabled val="1"/>
        </dgm:presLayoutVars>
      </dgm:prSet>
      <dgm:spPr/>
      <dgm:t>
        <a:bodyPr/>
        <a:lstStyle/>
        <a:p>
          <a:endParaRPr lang="nl-NL"/>
        </a:p>
      </dgm:t>
    </dgm:pt>
    <dgm:pt modelId="{91A9BBBC-E226-44ED-B966-18A36F466E5B}" type="pres">
      <dgm:prSet presAssocID="{22C9BA16-C912-4AB8-B16E-FF797935FE95}" presName="vSp" presStyleCnt="0"/>
      <dgm:spPr/>
    </dgm:pt>
    <dgm:pt modelId="{DAD2B607-B187-469D-B28A-EE687D766071}" type="pres">
      <dgm:prSet presAssocID="{1D0431D3-64B3-4A2A-BC98-318609876B89}" presName="horFlow" presStyleCnt="0"/>
      <dgm:spPr/>
    </dgm:pt>
    <dgm:pt modelId="{AC514612-8832-4B0F-86D0-3200CCE54AE0}" type="pres">
      <dgm:prSet presAssocID="{1D0431D3-64B3-4A2A-BC98-318609876B89}" presName="bigChev" presStyleLbl="node1" presStyleIdx="2" presStyleCnt="5" custScaleX="84206" custScaleY="78283" custLinFactNeighborX="-1732" custLinFactNeighborY="-16734"/>
      <dgm:spPr/>
      <dgm:t>
        <a:bodyPr/>
        <a:lstStyle/>
        <a:p>
          <a:endParaRPr lang="nl-NL"/>
        </a:p>
      </dgm:t>
    </dgm:pt>
    <dgm:pt modelId="{71A396D0-074E-437B-B2EF-A0B34E0BE7F7}" type="pres">
      <dgm:prSet presAssocID="{7BCAD824-9F6C-4E51-8307-99177976A87F}" presName="parTrans" presStyleCnt="0"/>
      <dgm:spPr/>
    </dgm:pt>
    <dgm:pt modelId="{F6BDEFCB-7EF5-4C67-9CC3-C8A5F8837BEC}" type="pres">
      <dgm:prSet presAssocID="{C0C666D5-C6AE-48A4-8BEB-1E0B4423CC7F}" presName="node" presStyleLbl="alignAccFollowNode1" presStyleIdx="10" presStyleCnt="25" custScaleX="119879" custScaleY="94317" custLinFactNeighborX="-1938" custLinFactNeighborY="-20162">
        <dgm:presLayoutVars>
          <dgm:bulletEnabled val="1"/>
        </dgm:presLayoutVars>
      </dgm:prSet>
      <dgm:spPr/>
      <dgm:t>
        <a:bodyPr/>
        <a:lstStyle/>
        <a:p>
          <a:endParaRPr lang="nl-NL"/>
        </a:p>
      </dgm:t>
    </dgm:pt>
    <dgm:pt modelId="{AB380205-9165-48BE-90AF-1D37155F4626}" type="pres">
      <dgm:prSet presAssocID="{DEFB9FE7-85F7-46CA-BCD3-991BFEB6948F}" presName="sibTrans" presStyleCnt="0"/>
      <dgm:spPr/>
    </dgm:pt>
    <dgm:pt modelId="{58186B43-07B2-485C-BAFC-A38A2D2CA252}" type="pres">
      <dgm:prSet presAssocID="{1DD1AC1D-B569-457A-ABD8-ECBDB05C5B6B}" presName="node" presStyleLbl="alignAccFollowNode1" presStyleIdx="11" presStyleCnt="25" custScaleX="119879" custScaleY="94317" custLinFactNeighborX="-1938" custLinFactNeighborY="-20162">
        <dgm:presLayoutVars>
          <dgm:bulletEnabled val="1"/>
        </dgm:presLayoutVars>
      </dgm:prSet>
      <dgm:spPr/>
      <dgm:t>
        <a:bodyPr/>
        <a:lstStyle/>
        <a:p>
          <a:endParaRPr lang="nl-NL"/>
        </a:p>
      </dgm:t>
    </dgm:pt>
    <dgm:pt modelId="{7D78B4A9-2CA2-46A7-9724-90A84F6E3D1B}" type="pres">
      <dgm:prSet presAssocID="{B22F1A8F-FD9D-4176-86A1-F295A23BFA9F}" presName="sibTrans" presStyleCnt="0"/>
      <dgm:spPr/>
    </dgm:pt>
    <dgm:pt modelId="{0147A711-EAE7-444C-88B2-0E0CB88E6274}" type="pres">
      <dgm:prSet presAssocID="{4E20D29C-B6C9-440B-AFF3-AEF13A3A4C36}" presName="node" presStyleLbl="alignAccFollowNode1" presStyleIdx="12" presStyleCnt="25" custScaleX="119879" custScaleY="94317" custLinFactNeighborX="-1938" custLinFactNeighborY="-20162">
        <dgm:presLayoutVars>
          <dgm:bulletEnabled val="1"/>
        </dgm:presLayoutVars>
      </dgm:prSet>
      <dgm:spPr/>
      <dgm:t>
        <a:bodyPr/>
        <a:lstStyle/>
        <a:p>
          <a:endParaRPr lang="nl-NL"/>
        </a:p>
      </dgm:t>
    </dgm:pt>
    <dgm:pt modelId="{83242370-A8A0-49D9-8F01-B0DBCCE9E329}" type="pres">
      <dgm:prSet presAssocID="{18736C93-2A1D-4F22-8952-5A44ED9B99A1}" presName="sibTrans" presStyleCnt="0"/>
      <dgm:spPr/>
    </dgm:pt>
    <dgm:pt modelId="{9FA528D7-26AC-4E04-B14F-E0155359DB2B}" type="pres">
      <dgm:prSet presAssocID="{AA8DBEC3-5730-473F-B244-820415D3B97D}" presName="node" presStyleLbl="alignAccFollowNode1" presStyleIdx="13" presStyleCnt="25" custScaleX="119879" custScaleY="94317" custLinFactNeighborX="-969" custLinFactNeighborY="-23720">
        <dgm:presLayoutVars>
          <dgm:bulletEnabled val="1"/>
        </dgm:presLayoutVars>
      </dgm:prSet>
      <dgm:spPr/>
      <dgm:t>
        <a:bodyPr/>
        <a:lstStyle/>
        <a:p>
          <a:endParaRPr lang="nl-NL"/>
        </a:p>
      </dgm:t>
    </dgm:pt>
    <dgm:pt modelId="{830719E3-B039-41C3-82E1-9E3518710380}" type="pres">
      <dgm:prSet presAssocID="{016D74AE-0885-463A-8830-0E4EE253A780}" presName="sibTrans" presStyleCnt="0"/>
      <dgm:spPr/>
    </dgm:pt>
    <dgm:pt modelId="{6E216FF8-2780-4ABE-969B-CDD8F6583DDC}" type="pres">
      <dgm:prSet presAssocID="{6CE1A86C-5E74-4ADB-95CE-83D1024B8A1B}" presName="node" presStyleLbl="alignAccFollowNode1" presStyleIdx="14" presStyleCnt="25" custScaleX="119879" custScaleY="94317" custLinFactNeighborX="-969" custLinFactNeighborY="-23720">
        <dgm:presLayoutVars>
          <dgm:bulletEnabled val="1"/>
        </dgm:presLayoutVars>
      </dgm:prSet>
      <dgm:spPr/>
      <dgm:t>
        <a:bodyPr/>
        <a:lstStyle/>
        <a:p>
          <a:endParaRPr lang="nl-NL"/>
        </a:p>
      </dgm:t>
    </dgm:pt>
    <dgm:pt modelId="{8666EA12-234D-4CB4-8E75-0C81F718C0A9}" type="pres">
      <dgm:prSet presAssocID="{1D0431D3-64B3-4A2A-BC98-318609876B89}" presName="vSp" presStyleCnt="0"/>
      <dgm:spPr/>
    </dgm:pt>
    <dgm:pt modelId="{0D0AE263-B1EA-44DD-9FE2-9CAC606D6FC5}" type="pres">
      <dgm:prSet presAssocID="{23193460-2B00-4BBA-B2EF-55CC2B44251D}" presName="horFlow" presStyleCnt="0"/>
      <dgm:spPr/>
    </dgm:pt>
    <dgm:pt modelId="{01295B02-5629-4790-BB4D-A7650C590746}" type="pres">
      <dgm:prSet presAssocID="{23193460-2B00-4BBA-B2EF-55CC2B44251D}" presName="bigChev" presStyleLbl="node1" presStyleIdx="3" presStyleCnt="5" custScaleX="84206" custScaleY="78283" custLinFactNeighborX="-867" custLinFactNeighborY="-22640"/>
      <dgm:spPr/>
      <dgm:t>
        <a:bodyPr/>
        <a:lstStyle/>
        <a:p>
          <a:endParaRPr lang="nl-NL"/>
        </a:p>
      </dgm:t>
    </dgm:pt>
    <dgm:pt modelId="{A75BC414-AEA6-434B-B674-287E649E0B5D}" type="pres">
      <dgm:prSet presAssocID="{142C46B5-687D-479B-9E79-40DA7F5DEF44}" presName="parTrans" presStyleCnt="0"/>
      <dgm:spPr/>
    </dgm:pt>
    <dgm:pt modelId="{6EF753EC-17CD-46A6-81D5-6C737C6C4D8F}" type="pres">
      <dgm:prSet presAssocID="{1CEA679C-96CA-460E-AC4E-1582F3BE9109}" presName="node" presStyleLbl="alignAccFollowNode1" presStyleIdx="15" presStyleCnt="25" custScaleX="119879" custScaleY="94317" custLinFactNeighborX="-969" custLinFactNeighborY="-27278">
        <dgm:presLayoutVars>
          <dgm:bulletEnabled val="1"/>
        </dgm:presLayoutVars>
      </dgm:prSet>
      <dgm:spPr/>
      <dgm:t>
        <a:bodyPr/>
        <a:lstStyle/>
        <a:p>
          <a:endParaRPr lang="nl-NL"/>
        </a:p>
      </dgm:t>
    </dgm:pt>
    <dgm:pt modelId="{F90259C5-94CE-4646-9BBB-9D77BAFCC246}" type="pres">
      <dgm:prSet presAssocID="{6F495585-C16D-46B3-BD6D-CD5560F9DB86}" presName="sibTrans" presStyleCnt="0"/>
      <dgm:spPr/>
    </dgm:pt>
    <dgm:pt modelId="{63D44174-705A-471D-8957-98F128C02313}" type="pres">
      <dgm:prSet presAssocID="{9A17E9D9-E8F2-4A3D-B3C2-0BF77FF6D42E}" presName="node" presStyleLbl="alignAccFollowNode1" presStyleIdx="16" presStyleCnt="25" custScaleX="119879" custScaleY="94317" custLinFactNeighborX="-969" custLinFactNeighborY="-27278">
        <dgm:presLayoutVars>
          <dgm:bulletEnabled val="1"/>
        </dgm:presLayoutVars>
      </dgm:prSet>
      <dgm:spPr/>
      <dgm:t>
        <a:bodyPr/>
        <a:lstStyle/>
        <a:p>
          <a:endParaRPr lang="nl-NL"/>
        </a:p>
      </dgm:t>
    </dgm:pt>
    <dgm:pt modelId="{F97E5AF9-947E-4CC6-9073-F777788D2625}" type="pres">
      <dgm:prSet presAssocID="{E69B4927-D436-46DC-B02B-BBE2B2FB337F}" presName="sibTrans" presStyleCnt="0"/>
      <dgm:spPr/>
    </dgm:pt>
    <dgm:pt modelId="{A7989C51-1EF4-4500-81D6-6D719DDD68D0}" type="pres">
      <dgm:prSet presAssocID="{7EDDC5A2-9A6F-4101-B5CB-77EDED0EB09F}" presName="node" presStyleLbl="alignAccFollowNode1" presStyleIdx="17" presStyleCnt="25" custScaleX="119879" custScaleY="94317" custLinFactNeighborX="-969" custLinFactNeighborY="-27278">
        <dgm:presLayoutVars>
          <dgm:bulletEnabled val="1"/>
        </dgm:presLayoutVars>
      </dgm:prSet>
      <dgm:spPr/>
      <dgm:t>
        <a:bodyPr/>
        <a:lstStyle/>
        <a:p>
          <a:endParaRPr lang="nl-NL"/>
        </a:p>
      </dgm:t>
    </dgm:pt>
    <dgm:pt modelId="{49AEC048-1AAE-4592-9445-E9DFA3B4AE30}" type="pres">
      <dgm:prSet presAssocID="{6F48EEA3-B2B6-4574-A8AF-5F75DE2E1693}" presName="sibTrans" presStyleCnt="0"/>
      <dgm:spPr/>
    </dgm:pt>
    <dgm:pt modelId="{A13861A0-3C4D-407A-AD33-595EDBF2F097}" type="pres">
      <dgm:prSet presAssocID="{66E39E7D-DC2E-4284-993D-AFD4E5E98986}" presName="node" presStyleLbl="alignAccFollowNode1" presStyleIdx="18" presStyleCnt="25" custScaleX="119879" custScaleY="94317" custLinFactNeighborX="-969" custLinFactNeighborY="-27278">
        <dgm:presLayoutVars>
          <dgm:bulletEnabled val="1"/>
        </dgm:presLayoutVars>
      </dgm:prSet>
      <dgm:spPr/>
      <dgm:t>
        <a:bodyPr/>
        <a:lstStyle/>
        <a:p>
          <a:endParaRPr lang="nl-NL"/>
        </a:p>
      </dgm:t>
    </dgm:pt>
    <dgm:pt modelId="{4A81BF62-7FD5-4E20-9909-F9C72ED58289}" type="pres">
      <dgm:prSet presAssocID="{57835AF8-C1FC-4BCA-8913-7836892EA37D}" presName="sibTrans" presStyleCnt="0"/>
      <dgm:spPr/>
    </dgm:pt>
    <dgm:pt modelId="{0EE2C3EC-54D5-48DD-BB5E-1E84B5C6767E}" type="pres">
      <dgm:prSet presAssocID="{82B4419E-EA02-41F8-8851-D338BCF00BF0}" presName="node" presStyleLbl="alignAccFollowNode1" presStyleIdx="19" presStyleCnt="25" custScaleX="119879" custScaleY="94317" custLinFactNeighborX="-969" custLinFactNeighborY="-27278">
        <dgm:presLayoutVars>
          <dgm:bulletEnabled val="1"/>
        </dgm:presLayoutVars>
      </dgm:prSet>
      <dgm:spPr/>
      <dgm:t>
        <a:bodyPr/>
        <a:lstStyle/>
        <a:p>
          <a:endParaRPr lang="nl-NL"/>
        </a:p>
      </dgm:t>
    </dgm:pt>
    <dgm:pt modelId="{DCF6DC2F-5145-4A69-9352-14B4B105CEA7}" type="pres">
      <dgm:prSet presAssocID="{23193460-2B00-4BBA-B2EF-55CC2B44251D}" presName="vSp" presStyleCnt="0"/>
      <dgm:spPr/>
    </dgm:pt>
    <dgm:pt modelId="{B96505B2-8244-4CEC-B020-828904E4E906}" type="pres">
      <dgm:prSet presAssocID="{77057A3B-3645-4900-95DC-090CD2DB9683}" presName="horFlow" presStyleCnt="0"/>
      <dgm:spPr/>
    </dgm:pt>
    <dgm:pt modelId="{369C16FF-CB50-4D98-9172-0EA7B2F7C0E9}" type="pres">
      <dgm:prSet presAssocID="{77057A3B-3645-4900-95DC-090CD2DB9683}" presName="bigChev" presStyleLbl="node1" presStyleIdx="4" presStyleCnt="5" custScaleX="84206" custScaleY="78283" custLinFactNeighborX="-866" custLinFactNeighborY="-24609"/>
      <dgm:spPr/>
      <dgm:t>
        <a:bodyPr/>
        <a:lstStyle/>
        <a:p>
          <a:endParaRPr lang="nl-NL"/>
        </a:p>
      </dgm:t>
    </dgm:pt>
    <dgm:pt modelId="{C7EE0844-4E45-4E96-9DFA-0A8C0F2C9AA6}" type="pres">
      <dgm:prSet presAssocID="{3740C790-FB91-4EEF-9193-83BDD7896895}" presName="parTrans" presStyleCnt="0"/>
      <dgm:spPr/>
    </dgm:pt>
    <dgm:pt modelId="{F9B40E24-8054-4554-8AF6-D6B681E13EA0}" type="pres">
      <dgm:prSet presAssocID="{27A89387-7B3B-4188-A28B-6E38537CFD19}" presName="node" presStyleLbl="alignAccFollowNode1" presStyleIdx="20" presStyleCnt="25" custScaleX="119879" custScaleY="94317" custLinFactNeighborX="-969" custLinFactNeighborY="-29649">
        <dgm:presLayoutVars>
          <dgm:bulletEnabled val="1"/>
        </dgm:presLayoutVars>
      </dgm:prSet>
      <dgm:spPr/>
      <dgm:t>
        <a:bodyPr/>
        <a:lstStyle/>
        <a:p>
          <a:endParaRPr lang="nl-NL"/>
        </a:p>
      </dgm:t>
    </dgm:pt>
    <dgm:pt modelId="{C5B67E5E-B363-42E2-80C1-79C2B5650A3A}" type="pres">
      <dgm:prSet presAssocID="{FCD6D5E8-E559-4B35-8AD2-0764F3E4CB3B}" presName="sibTrans" presStyleCnt="0"/>
      <dgm:spPr/>
    </dgm:pt>
    <dgm:pt modelId="{F7823181-D95C-4548-8D31-3B61A998A8F3}" type="pres">
      <dgm:prSet presAssocID="{6292E6EC-41DE-43DC-8EBD-D60A29E30E3A}" presName="node" presStyleLbl="alignAccFollowNode1" presStyleIdx="21" presStyleCnt="25" custScaleX="119879" custScaleY="94317" custLinFactNeighborX="-969" custLinFactNeighborY="-29649">
        <dgm:presLayoutVars>
          <dgm:bulletEnabled val="1"/>
        </dgm:presLayoutVars>
      </dgm:prSet>
      <dgm:spPr/>
      <dgm:t>
        <a:bodyPr/>
        <a:lstStyle/>
        <a:p>
          <a:endParaRPr lang="nl-NL"/>
        </a:p>
      </dgm:t>
    </dgm:pt>
    <dgm:pt modelId="{AC437654-8085-4057-89E9-126A4BC75DAF}" type="pres">
      <dgm:prSet presAssocID="{4E923F6B-0FC9-4D73-B3A0-BF03729328D8}" presName="sibTrans" presStyleCnt="0"/>
      <dgm:spPr/>
    </dgm:pt>
    <dgm:pt modelId="{54E5B12B-5A5F-4DFD-A255-6C8C32526395}" type="pres">
      <dgm:prSet presAssocID="{C869D024-6F94-4126-B283-6DC434C89154}" presName="node" presStyleLbl="alignAccFollowNode1" presStyleIdx="22" presStyleCnt="25" custScaleX="119879" custScaleY="94317" custLinFactNeighborX="-969" custLinFactNeighborY="-29649">
        <dgm:presLayoutVars>
          <dgm:bulletEnabled val="1"/>
        </dgm:presLayoutVars>
      </dgm:prSet>
      <dgm:spPr/>
      <dgm:t>
        <a:bodyPr/>
        <a:lstStyle/>
        <a:p>
          <a:endParaRPr lang="nl-NL"/>
        </a:p>
      </dgm:t>
    </dgm:pt>
    <dgm:pt modelId="{DE0F41F1-1B55-44E1-9D5A-189E52E87322}" type="pres">
      <dgm:prSet presAssocID="{16ACF173-BA7E-4685-843F-5588E59D116A}" presName="sibTrans" presStyleCnt="0"/>
      <dgm:spPr/>
    </dgm:pt>
    <dgm:pt modelId="{9D541BD9-D6A2-43C7-B91C-2D697E81376F}" type="pres">
      <dgm:prSet presAssocID="{62D61A53-2D9E-484A-A2DF-FA5F8026FDCE}" presName="node" presStyleLbl="alignAccFollowNode1" presStyleIdx="23" presStyleCnt="25" custScaleX="119879" custScaleY="94317" custLinFactNeighborX="-969" custLinFactNeighborY="-29649">
        <dgm:presLayoutVars>
          <dgm:bulletEnabled val="1"/>
        </dgm:presLayoutVars>
      </dgm:prSet>
      <dgm:spPr/>
      <dgm:t>
        <a:bodyPr/>
        <a:lstStyle/>
        <a:p>
          <a:endParaRPr lang="nl-NL"/>
        </a:p>
      </dgm:t>
    </dgm:pt>
    <dgm:pt modelId="{603039C6-CA7A-4BF0-B9C3-E55981299194}" type="pres">
      <dgm:prSet presAssocID="{0741CA5F-C53B-4587-A516-C633F65D31E4}" presName="sibTrans" presStyleCnt="0"/>
      <dgm:spPr/>
    </dgm:pt>
    <dgm:pt modelId="{267F98CF-3B0B-4374-BA95-4747FC32EBB6}" type="pres">
      <dgm:prSet presAssocID="{8835A891-43B3-4F45-A35D-0FEC54C4FA75}" presName="node" presStyleLbl="alignAccFollowNode1" presStyleIdx="24" presStyleCnt="25" custScaleX="119879" custScaleY="94317" custLinFactNeighborX="-969" custLinFactNeighborY="-29649">
        <dgm:presLayoutVars>
          <dgm:bulletEnabled val="1"/>
        </dgm:presLayoutVars>
      </dgm:prSet>
      <dgm:spPr/>
      <dgm:t>
        <a:bodyPr/>
        <a:lstStyle/>
        <a:p>
          <a:endParaRPr lang="nl-NL"/>
        </a:p>
      </dgm:t>
    </dgm:pt>
  </dgm:ptLst>
  <dgm:cxnLst>
    <dgm:cxn modelId="{5C8C9688-845D-407B-8262-856083BB8B02}" srcId="{22C9BA16-C912-4AB8-B16E-FF797935FE95}" destId="{746BBA83-FC51-4B44-8C3D-F93ACED5A830}" srcOrd="3" destOrd="0" parTransId="{43D31E03-9F7F-4CDB-BA1E-5B60E76E75A0}" sibTransId="{645A86AD-7CFE-406C-A490-80E89BBD3A4A}"/>
    <dgm:cxn modelId="{7CE56B18-CF79-43BF-AA17-4A5CA53C6967}" srcId="{77057A3B-3645-4900-95DC-090CD2DB9683}" destId="{C869D024-6F94-4126-B283-6DC434C89154}" srcOrd="2" destOrd="0" parTransId="{065D051E-7E8B-4B3A-8F40-D8B67EEB97E8}" sibTransId="{16ACF173-BA7E-4685-843F-5588E59D116A}"/>
    <dgm:cxn modelId="{1E19AF31-A63C-4F46-B482-F715C1BB40D5}" srcId="{23193460-2B00-4BBA-B2EF-55CC2B44251D}" destId="{82B4419E-EA02-41F8-8851-D338BCF00BF0}" srcOrd="4" destOrd="0" parTransId="{7A7B7C56-B4C7-4671-B013-0CA3A660B3FD}" sibTransId="{90965BCE-1684-471D-AE9E-22ADC4D55E40}"/>
    <dgm:cxn modelId="{C244C082-4F01-4C68-ACB6-0E8FA3198B3E}" srcId="{A4C25754-AF2E-445A-B1C4-208C361E3027}" destId="{22C9BA16-C912-4AB8-B16E-FF797935FE95}" srcOrd="1" destOrd="0" parTransId="{93B98DF1-7871-4E1C-BCA9-B7D1E46536EC}" sibTransId="{92090AD9-6C79-48EC-9401-F0B181673841}"/>
    <dgm:cxn modelId="{334762A0-DC37-4D02-9AF7-5835C698C5B5}" srcId="{647DD7A5-0012-436B-BAB9-BDE52DC25B90}" destId="{70E24202-5799-4363-BEB8-A6A555C92004}" srcOrd="2" destOrd="0" parTransId="{298DED62-54D1-4E74-839B-377420A8439D}" sibTransId="{23142C11-E321-427B-916C-F99E70BC7B6D}"/>
    <dgm:cxn modelId="{BC9DE52F-0BB5-4ACB-9274-779AEBE21803}" srcId="{22C9BA16-C912-4AB8-B16E-FF797935FE95}" destId="{1C057D00-7046-4C92-8845-E659397CD6FE}" srcOrd="1" destOrd="0" parTransId="{5CCF2DFA-AA14-4223-93C4-29A2BEE342FE}" sibTransId="{9F92A93D-431C-4D58-AC15-E971BD7417E8}"/>
    <dgm:cxn modelId="{3BB2DC6F-AEAE-401D-A71C-27E6D32EC4FB}" srcId="{1D0431D3-64B3-4A2A-BC98-318609876B89}" destId="{C0C666D5-C6AE-48A4-8BEB-1E0B4423CC7F}" srcOrd="0" destOrd="0" parTransId="{7BCAD824-9F6C-4E51-8307-99177976A87F}" sibTransId="{DEFB9FE7-85F7-46CA-BCD3-991BFEB6948F}"/>
    <dgm:cxn modelId="{5B51B856-66F6-41DE-82D6-D9DAD4791020}" type="presOf" srcId="{66E39E7D-DC2E-4284-993D-AFD4E5E98986}" destId="{A13861A0-3C4D-407A-AD33-595EDBF2F097}" srcOrd="0" destOrd="0" presId="urn:microsoft.com/office/officeart/2005/8/layout/lProcess3"/>
    <dgm:cxn modelId="{9B937BAE-08F9-42AE-AC98-6AD3DC9FA8CB}" srcId="{A4C25754-AF2E-445A-B1C4-208C361E3027}" destId="{23193460-2B00-4BBA-B2EF-55CC2B44251D}" srcOrd="3" destOrd="0" parTransId="{9039EAD3-CDDB-4CC8-A3AF-7A425DFF7FAF}" sibTransId="{B40E2452-A66F-4500-9BFD-26EFE8F1C46C}"/>
    <dgm:cxn modelId="{C94B2CA1-3476-4E29-8D69-CB27642C1C34}" type="presOf" srcId="{23193460-2B00-4BBA-B2EF-55CC2B44251D}" destId="{01295B02-5629-4790-BB4D-A7650C590746}" srcOrd="0" destOrd="0" presId="urn:microsoft.com/office/officeart/2005/8/layout/lProcess3"/>
    <dgm:cxn modelId="{C12D5F15-CE74-4E56-ADAA-04E1C0542A81}" type="presOf" srcId="{1F00858C-756E-438F-ACFC-655C02058CEA}" destId="{6F58A52D-AFF9-49F5-8538-1AB9A54C1571}" srcOrd="0" destOrd="0" presId="urn:microsoft.com/office/officeart/2005/8/layout/lProcess3"/>
    <dgm:cxn modelId="{404349EA-FCFB-4F3A-A6D3-4DA211175043}" type="presOf" srcId="{4E20D29C-B6C9-440B-AFF3-AEF13A3A4C36}" destId="{0147A711-EAE7-444C-88B2-0E0CB88E6274}" srcOrd="0" destOrd="0" presId="urn:microsoft.com/office/officeart/2005/8/layout/lProcess3"/>
    <dgm:cxn modelId="{24EA6616-E004-4366-BB51-E4E8F832CBD5}" type="presOf" srcId="{27A89387-7B3B-4188-A28B-6E38537CFD19}" destId="{F9B40E24-8054-4554-8AF6-D6B681E13EA0}" srcOrd="0" destOrd="0" presId="urn:microsoft.com/office/officeart/2005/8/layout/lProcess3"/>
    <dgm:cxn modelId="{79901D87-BDE8-49B6-93DD-626CC97FAEC0}" type="presOf" srcId="{62D61A53-2D9E-484A-A2DF-FA5F8026FDCE}" destId="{9D541BD9-D6A2-43C7-B91C-2D697E81376F}" srcOrd="0" destOrd="0" presId="urn:microsoft.com/office/officeart/2005/8/layout/lProcess3"/>
    <dgm:cxn modelId="{1116DFBC-7D5F-4A2B-BE9E-6A035578413B}" type="presOf" srcId="{151429BB-703C-4837-AEAE-FB6E3DE6D505}" destId="{87B307EE-F7E3-478C-99DF-363D7920F82C}" srcOrd="0" destOrd="0" presId="urn:microsoft.com/office/officeart/2005/8/layout/lProcess3"/>
    <dgm:cxn modelId="{8F30F11D-E87C-429F-A3B7-14360FA410AD}" srcId="{22C9BA16-C912-4AB8-B16E-FF797935FE95}" destId="{151429BB-703C-4837-AEAE-FB6E3DE6D505}" srcOrd="2" destOrd="0" parTransId="{CE2A0741-45C2-4BEA-BD64-023BC7622332}" sibTransId="{31B627E5-D5DC-4932-8CC6-E7930B6676D9}"/>
    <dgm:cxn modelId="{F01DEC03-BFD0-4AD0-83CB-AFBAB645346A}" type="presOf" srcId="{6292E6EC-41DE-43DC-8EBD-D60A29E30E3A}" destId="{F7823181-D95C-4548-8D31-3B61A998A8F3}" srcOrd="0" destOrd="0" presId="urn:microsoft.com/office/officeart/2005/8/layout/lProcess3"/>
    <dgm:cxn modelId="{A19ED3F0-D3F5-4544-A864-F0CB4CCF69B9}" srcId="{1D0431D3-64B3-4A2A-BC98-318609876B89}" destId="{AA8DBEC3-5730-473F-B244-820415D3B97D}" srcOrd="3" destOrd="0" parTransId="{FF21C5BA-C31C-4EE9-8435-9F3E74196BB2}" sibTransId="{016D74AE-0885-463A-8830-0E4EE253A780}"/>
    <dgm:cxn modelId="{7B088858-B74C-43E2-9BE5-068D5D9E1AEB}" srcId="{23193460-2B00-4BBA-B2EF-55CC2B44251D}" destId="{66E39E7D-DC2E-4284-993D-AFD4E5E98986}" srcOrd="3" destOrd="0" parTransId="{D2917CAC-F82A-46EF-A20B-2F4A2F94E9FF}" sibTransId="{57835AF8-C1FC-4BCA-8913-7836892EA37D}"/>
    <dgm:cxn modelId="{20329975-211D-4A3A-8C0F-DD54C84AD3BD}" srcId="{1D0431D3-64B3-4A2A-BC98-318609876B89}" destId="{4E20D29C-B6C9-440B-AFF3-AEF13A3A4C36}" srcOrd="2" destOrd="0" parTransId="{0AC3526D-14AD-4864-BC54-CA2EC525943F}" sibTransId="{18736C93-2A1D-4F22-8952-5A44ED9B99A1}"/>
    <dgm:cxn modelId="{03C42A38-BDB9-4D6B-A478-6FFCEEADCCBC}" srcId="{1D0431D3-64B3-4A2A-BC98-318609876B89}" destId="{1DD1AC1D-B569-457A-ABD8-ECBDB05C5B6B}" srcOrd="1" destOrd="0" parTransId="{E1011E1B-B118-4875-B78A-2BFFE230438F}" sibTransId="{B22F1A8F-FD9D-4176-86A1-F295A23BFA9F}"/>
    <dgm:cxn modelId="{5361ADCC-84BD-4993-85CF-74B06F5D06D1}" type="presOf" srcId="{22C9BA16-C912-4AB8-B16E-FF797935FE95}" destId="{45A1425D-2946-43E1-B1EC-77043B192449}" srcOrd="0" destOrd="0" presId="urn:microsoft.com/office/officeart/2005/8/layout/lProcess3"/>
    <dgm:cxn modelId="{07F00F9A-25EB-48AC-9AB9-F7A1B8DE7412}" type="presOf" srcId="{746BBA83-FC51-4B44-8C3D-F93ACED5A830}" destId="{CED8139D-1618-489C-91A6-6B435D2A051E}" srcOrd="0" destOrd="0" presId="urn:microsoft.com/office/officeart/2005/8/layout/lProcess3"/>
    <dgm:cxn modelId="{3404E993-9AF5-4AC8-A850-E56B79A05D44}" type="presOf" srcId="{1CEA679C-96CA-460E-AC4E-1582F3BE9109}" destId="{6EF753EC-17CD-46A6-81D5-6C737C6C4D8F}" srcOrd="0" destOrd="0" presId="urn:microsoft.com/office/officeart/2005/8/layout/lProcess3"/>
    <dgm:cxn modelId="{988CBE00-9744-4A6E-8BD8-86272E3F764E}" type="presOf" srcId="{1D0431D3-64B3-4A2A-BC98-318609876B89}" destId="{AC514612-8832-4B0F-86D0-3200CCE54AE0}" srcOrd="0" destOrd="0" presId="urn:microsoft.com/office/officeart/2005/8/layout/lProcess3"/>
    <dgm:cxn modelId="{33F43A8A-3CC8-4334-8714-CB475542533B}" type="presOf" srcId="{6CE1A86C-5E74-4ADB-95CE-83D1024B8A1B}" destId="{6E216FF8-2780-4ABE-969B-CDD8F6583DDC}" srcOrd="0" destOrd="0" presId="urn:microsoft.com/office/officeart/2005/8/layout/lProcess3"/>
    <dgm:cxn modelId="{F875A6EA-D09C-4FBB-A92C-73C0BA23DBA0}" type="presOf" srcId="{20446483-3131-45C6-9B63-8672E75978B6}" destId="{76A59E32-1369-43F3-BA20-12EAEE339E49}" srcOrd="0" destOrd="0" presId="urn:microsoft.com/office/officeart/2005/8/layout/lProcess3"/>
    <dgm:cxn modelId="{7BFCD170-6D7A-4815-B43E-FC0D2CF65DDA}" srcId="{23193460-2B00-4BBA-B2EF-55CC2B44251D}" destId="{9A17E9D9-E8F2-4A3D-B3C2-0BF77FF6D42E}" srcOrd="1" destOrd="0" parTransId="{1E3B8620-2598-4AD1-B142-4BF992FCC7D5}" sibTransId="{E69B4927-D436-46DC-B02B-BBE2B2FB337F}"/>
    <dgm:cxn modelId="{FD555119-81B7-423C-9055-58EC56CBFE23}" type="presOf" srcId="{9A17E9D9-E8F2-4A3D-B3C2-0BF77FF6D42E}" destId="{63D44174-705A-471D-8957-98F128C02313}" srcOrd="0" destOrd="0" presId="urn:microsoft.com/office/officeart/2005/8/layout/lProcess3"/>
    <dgm:cxn modelId="{07B7B9FE-65A9-44AC-B2BC-1638D12F3448}" srcId="{77057A3B-3645-4900-95DC-090CD2DB9683}" destId="{8835A891-43B3-4F45-A35D-0FEC54C4FA75}" srcOrd="4" destOrd="0" parTransId="{6E2213D1-0573-4675-98DA-0076CF75465F}" sibTransId="{6558BD01-4C77-4722-AF95-E83635287790}"/>
    <dgm:cxn modelId="{FF888F5F-DB76-4362-9E36-8483708879BB}" srcId="{23193460-2B00-4BBA-B2EF-55CC2B44251D}" destId="{1CEA679C-96CA-460E-AC4E-1582F3BE9109}" srcOrd="0" destOrd="0" parTransId="{142C46B5-687D-479B-9E79-40DA7F5DEF44}" sibTransId="{6F495585-C16D-46B3-BD6D-CD5560F9DB86}"/>
    <dgm:cxn modelId="{514C613D-60A0-4643-BBC0-BE8471FD5547}" type="presOf" srcId="{A4C25754-AF2E-445A-B1C4-208C361E3027}" destId="{1DE78E1A-287A-4644-911E-2C3E7FDD395B}" srcOrd="0" destOrd="0" presId="urn:microsoft.com/office/officeart/2005/8/layout/lProcess3"/>
    <dgm:cxn modelId="{51AB0B94-82E4-43E9-8949-985CC568556A}" type="presOf" srcId="{C0C666D5-C6AE-48A4-8BEB-1E0B4423CC7F}" destId="{F6BDEFCB-7EF5-4C67-9CC3-C8A5F8837BEC}" srcOrd="0" destOrd="0" presId="urn:microsoft.com/office/officeart/2005/8/layout/lProcess3"/>
    <dgm:cxn modelId="{3F8CF7C8-6210-42A5-8DA3-FA0302C8434A}" srcId="{A4C25754-AF2E-445A-B1C4-208C361E3027}" destId="{647DD7A5-0012-436B-BAB9-BDE52DC25B90}" srcOrd="0" destOrd="0" parTransId="{3AB16B59-D0CB-483E-BCBC-D5B2E737CB7D}" sibTransId="{706A9391-DCC8-4EEB-A18D-BE55B315846C}"/>
    <dgm:cxn modelId="{80260B3B-B79C-46B4-97AA-A804C2A3920E}" srcId="{647DD7A5-0012-436B-BAB9-BDE52DC25B90}" destId="{545954EC-4953-467F-8E27-933BAB5A8E05}" srcOrd="1" destOrd="0" parTransId="{E031E22B-55B8-4FED-A7B2-47054E3D78C2}" sibTransId="{3195B29B-0B9A-47B3-B2F4-4FDC8876F8E7}"/>
    <dgm:cxn modelId="{96666247-BF4C-4E6F-B6E5-3928BD906983}" type="presOf" srcId="{77057A3B-3645-4900-95DC-090CD2DB9683}" destId="{369C16FF-CB50-4D98-9172-0EA7B2F7C0E9}" srcOrd="0" destOrd="0" presId="urn:microsoft.com/office/officeart/2005/8/layout/lProcess3"/>
    <dgm:cxn modelId="{1F843F8A-097C-4D1E-8BE9-55D51C74877D}" srcId="{A4C25754-AF2E-445A-B1C4-208C361E3027}" destId="{77057A3B-3645-4900-95DC-090CD2DB9683}" srcOrd="4" destOrd="0" parTransId="{0EC6A81B-C8FD-4EEF-8570-8C98DBB1A73C}" sibTransId="{7A3E30EB-3E1C-4BF9-8CCF-CAA3571ACFB7}"/>
    <dgm:cxn modelId="{20E0196F-EDD9-474A-9FAF-DF8543639C6C}" srcId="{1D0431D3-64B3-4A2A-BC98-318609876B89}" destId="{6CE1A86C-5E74-4ADB-95CE-83D1024B8A1B}" srcOrd="4" destOrd="0" parTransId="{E68E1A5A-6E88-458A-8CB9-F2B234C35568}" sibTransId="{CCAC4F14-E3B3-4CA3-9BF7-C73D5E00EE32}"/>
    <dgm:cxn modelId="{D65ABC08-8E9F-48FB-9C91-F5256B3DDC67}" srcId="{647DD7A5-0012-436B-BAB9-BDE52DC25B90}" destId="{6D8F2393-DBD3-466D-BB9D-AE10062D1E45}" srcOrd="0" destOrd="0" parTransId="{583416F9-FBC6-4C82-8614-951CEE12CD70}" sibTransId="{03DE5228-1E63-4C54-9AE4-3B883B2F1DBA}"/>
    <dgm:cxn modelId="{ED905CA8-78C4-4B26-B4F3-FBE3111ED1C6}" srcId="{22C9BA16-C912-4AB8-B16E-FF797935FE95}" destId="{17FA8828-52A2-4AF5-B391-AB85135831D1}" srcOrd="0" destOrd="0" parTransId="{7C76C83D-CE5B-4D7C-AD83-B4E39CEEF00A}" sibTransId="{5831FBD0-5DF6-4737-9D40-31BD670C5784}"/>
    <dgm:cxn modelId="{20AAE980-8092-4326-A197-C1C565AB19AA}" type="presOf" srcId="{17FA8828-52A2-4AF5-B391-AB85135831D1}" destId="{050DB05E-783F-4CCF-9747-F95A7E32D478}" srcOrd="0" destOrd="0" presId="urn:microsoft.com/office/officeart/2005/8/layout/lProcess3"/>
    <dgm:cxn modelId="{EC06577F-9572-4923-825E-652125A51976}" type="presOf" srcId="{1DD1AC1D-B569-457A-ABD8-ECBDB05C5B6B}" destId="{58186B43-07B2-485C-BAFC-A38A2D2CA252}" srcOrd="0" destOrd="0" presId="urn:microsoft.com/office/officeart/2005/8/layout/lProcess3"/>
    <dgm:cxn modelId="{CA0D4426-5DC5-4E15-8CD4-69B9B9213E44}" srcId="{A4C25754-AF2E-445A-B1C4-208C361E3027}" destId="{1D0431D3-64B3-4A2A-BC98-318609876B89}" srcOrd="2" destOrd="0" parTransId="{8F056A3C-46EE-4105-96AC-805B07284C64}" sibTransId="{8B27C768-6F47-4415-9EAC-93F37110362D}"/>
    <dgm:cxn modelId="{51E55581-CECD-4AF7-BC46-2293C2202678}" type="presOf" srcId="{AA8DBEC3-5730-473F-B244-820415D3B97D}" destId="{9FA528D7-26AC-4E04-B14F-E0155359DB2B}" srcOrd="0" destOrd="0" presId="urn:microsoft.com/office/officeart/2005/8/layout/lProcess3"/>
    <dgm:cxn modelId="{671CB356-F728-45FA-9613-8893B0EB7710}" type="presOf" srcId="{1C057D00-7046-4C92-8845-E659397CD6FE}" destId="{EE523708-1E1B-4AAA-A918-8F0DB46124F9}" srcOrd="0" destOrd="0" presId="urn:microsoft.com/office/officeart/2005/8/layout/lProcess3"/>
    <dgm:cxn modelId="{2E6CD061-5211-49EC-9292-53AC3A9AD1E4}" srcId="{647DD7A5-0012-436B-BAB9-BDE52DC25B90}" destId="{2B87F55F-3DDA-4DB8-85DC-69C630658C4A}" srcOrd="4" destOrd="0" parTransId="{E458CF27-D025-4F7B-B018-63E3837B169F}" sibTransId="{DE6A453F-2629-4B65-903F-D41D3D5F3A92}"/>
    <dgm:cxn modelId="{6AC51181-18CA-4071-8671-E723CB2F83E3}" srcId="{22C9BA16-C912-4AB8-B16E-FF797935FE95}" destId="{20446483-3131-45C6-9B63-8672E75978B6}" srcOrd="4" destOrd="0" parTransId="{C592FC82-2CCB-41D1-AB19-C1027B3220DC}" sibTransId="{744972D6-F7F9-4325-9F4B-A70060987F27}"/>
    <dgm:cxn modelId="{40D9CC99-76AD-4E8E-A1AC-7A60971EB6FF}" srcId="{77057A3B-3645-4900-95DC-090CD2DB9683}" destId="{62D61A53-2D9E-484A-A2DF-FA5F8026FDCE}" srcOrd="3" destOrd="0" parTransId="{378F7EAA-89FC-40D8-A78F-65E528C91DC0}" sibTransId="{0741CA5F-C53B-4587-A516-C633F65D31E4}"/>
    <dgm:cxn modelId="{9AEC6FC0-CD11-49B0-9940-4D10A3FE7DFB}" type="presOf" srcId="{7EDDC5A2-9A6F-4101-B5CB-77EDED0EB09F}" destId="{A7989C51-1EF4-4500-81D6-6D719DDD68D0}" srcOrd="0" destOrd="0" presId="urn:microsoft.com/office/officeart/2005/8/layout/lProcess3"/>
    <dgm:cxn modelId="{B35D16C5-CE97-4817-8DCB-A32915EBD9A3}" srcId="{77057A3B-3645-4900-95DC-090CD2DB9683}" destId="{6292E6EC-41DE-43DC-8EBD-D60A29E30E3A}" srcOrd="1" destOrd="0" parTransId="{0E4480AF-2094-4189-98C1-03DE33A39523}" sibTransId="{4E923F6B-0FC9-4D73-B3A0-BF03729328D8}"/>
    <dgm:cxn modelId="{52100F12-BE81-40CD-A68F-E3FA558C44E7}" type="presOf" srcId="{82B4419E-EA02-41F8-8851-D338BCF00BF0}" destId="{0EE2C3EC-54D5-48DD-BB5E-1E84B5C6767E}" srcOrd="0" destOrd="0" presId="urn:microsoft.com/office/officeart/2005/8/layout/lProcess3"/>
    <dgm:cxn modelId="{1229EF09-38DE-4DBC-A8DA-8DE3EE5592E3}" type="presOf" srcId="{6D8F2393-DBD3-466D-BB9D-AE10062D1E45}" destId="{9E6C8AC0-5D21-43F3-83C4-CC1B7203E690}" srcOrd="0" destOrd="0" presId="urn:microsoft.com/office/officeart/2005/8/layout/lProcess3"/>
    <dgm:cxn modelId="{513E01FD-B6A1-47A4-BA13-6B2B22AF080B}" type="presOf" srcId="{C869D024-6F94-4126-B283-6DC434C89154}" destId="{54E5B12B-5A5F-4DFD-A255-6C8C32526395}" srcOrd="0" destOrd="0" presId="urn:microsoft.com/office/officeart/2005/8/layout/lProcess3"/>
    <dgm:cxn modelId="{3C475407-F480-4626-964A-7BA9A53E8463}" srcId="{23193460-2B00-4BBA-B2EF-55CC2B44251D}" destId="{7EDDC5A2-9A6F-4101-B5CB-77EDED0EB09F}" srcOrd="2" destOrd="0" parTransId="{994A2668-1209-4FF4-84C6-EBEFEE5719F7}" sibTransId="{6F48EEA3-B2B6-4574-A8AF-5F75DE2E1693}"/>
    <dgm:cxn modelId="{A06ED7D0-5EC6-4BB4-ABCA-D6158815A588}" type="presOf" srcId="{8835A891-43B3-4F45-A35D-0FEC54C4FA75}" destId="{267F98CF-3B0B-4374-BA95-4747FC32EBB6}" srcOrd="0" destOrd="0" presId="urn:microsoft.com/office/officeart/2005/8/layout/lProcess3"/>
    <dgm:cxn modelId="{0425F08E-D745-4524-BEC2-07ED372F5441}" type="presOf" srcId="{2B87F55F-3DDA-4DB8-85DC-69C630658C4A}" destId="{9DA68F1C-8A13-4764-9EED-8C5C1AC113E6}" srcOrd="0" destOrd="0" presId="urn:microsoft.com/office/officeart/2005/8/layout/lProcess3"/>
    <dgm:cxn modelId="{0123C213-567B-4983-9A19-D21B7B88431D}" type="presOf" srcId="{545954EC-4953-467F-8E27-933BAB5A8E05}" destId="{5F155100-7715-4A17-90EE-690DB2345E60}" srcOrd="0" destOrd="0" presId="urn:microsoft.com/office/officeart/2005/8/layout/lProcess3"/>
    <dgm:cxn modelId="{17F6472B-5BE6-4D2E-9D5C-06CFDFAC0AA4}" type="presOf" srcId="{647DD7A5-0012-436B-BAB9-BDE52DC25B90}" destId="{F6E04653-AC57-46CE-A503-3CBBAD1D7D39}" srcOrd="0" destOrd="0" presId="urn:microsoft.com/office/officeart/2005/8/layout/lProcess3"/>
    <dgm:cxn modelId="{C355C560-CE03-445B-A62A-70AC2F8C5F66}" srcId="{647DD7A5-0012-436B-BAB9-BDE52DC25B90}" destId="{1F00858C-756E-438F-ACFC-655C02058CEA}" srcOrd="3" destOrd="0" parTransId="{3C5879BC-6281-4669-8BEF-2E0C6AD6F405}" sibTransId="{E87351C3-C3F4-4BF9-BC9D-FD82FB04DFC6}"/>
    <dgm:cxn modelId="{D65E2E0E-9152-451B-9483-FA98D1635162}" type="presOf" srcId="{70E24202-5799-4363-BEB8-A6A555C92004}" destId="{C6C71CD6-3C52-4436-AED6-1475095E6966}" srcOrd="0" destOrd="0" presId="urn:microsoft.com/office/officeart/2005/8/layout/lProcess3"/>
    <dgm:cxn modelId="{0F2B4D9A-D250-4509-8C2D-04C9963529A6}" srcId="{77057A3B-3645-4900-95DC-090CD2DB9683}" destId="{27A89387-7B3B-4188-A28B-6E38537CFD19}" srcOrd="0" destOrd="0" parTransId="{3740C790-FB91-4EEF-9193-83BDD7896895}" sibTransId="{FCD6D5E8-E559-4B35-8AD2-0764F3E4CB3B}"/>
    <dgm:cxn modelId="{03DFE1E2-F88B-4EEB-A772-5D88591C3F04}" type="presParOf" srcId="{1DE78E1A-287A-4644-911E-2C3E7FDD395B}" destId="{1A84AAE2-0808-451B-B00F-51978064A56A}" srcOrd="0" destOrd="0" presId="urn:microsoft.com/office/officeart/2005/8/layout/lProcess3"/>
    <dgm:cxn modelId="{86D7E632-AAFC-48EB-8068-6819A505285C}" type="presParOf" srcId="{1A84AAE2-0808-451B-B00F-51978064A56A}" destId="{F6E04653-AC57-46CE-A503-3CBBAD1D7D39}" srcOrd="0" destOrd="0" presId="urn:microsoft.com/office/officeart/2005/8/layout/lProcess3"/>
    <dgm:cxn modelId="{B9195C12-F1FA-4333-A756-11F46AF9462E}" type="presParOf" srcId="{1A84AAE2-0808-451B-B00F-51978064A56A}" destId="{2FD405EF-9A12-4113-837F-4235A9C8BCDF}" srcOrd="1" destOrd="0" presId="urn:microsoft.com/office/officeart/2005/8/layout/lProcess3"/>
    <dgm:cxn modelId="{873A17B3-8164-4966-9FE4-8F31D8D3400D}" type="presParOf" srcId="{1A84AAE2-0808-451B-B00F-51978064A56A}" destId="{9E6C8AC0-5D21-43F3-83C4-CC1B7203E690}" srcOrd="2" destOrd="0" presId="urn:microsoft.com/office/officeart/2005/8/layout/lProcess3"/>
    <dgm:cxn modelId="{E2D5FEEB-7454-46B1-8B26-5D089326A5EB}" type="presParOf" srcId="{1A84AAE2-0808-451B-B00F-51978064A56A}" destId="{12437B27-DC93-4BD7-BC2C-B48051EB2B27}" srcOrd="3" destOrd="0" presId="urn:microsoft.com/office/officeart/2005/8/layout/lProcess3"/>
    <dgm:cxn modelId="{36A65702-D9EB-4058-A5E1-C37ADE9DA79E}" type="presParOf" srcId="{1A84AAE2-0808-451B-B00F-51978064A56A}" destId="{5F155100-7715-4A17-90EE-690DB2345E60}" srcOrd="4" destOrd="0" presId="urn:microsoft.com/office/officeart/2005/8/layout/lProcess3"/>
    <dgm:cxn modelId="{272B8057-6A0B-4D91-9B6A-D8A4771593BC}" type="presParOf" srcId="{1A84AAE2-0808-451B-B00F-51978064A56A}" destId="{556E6604-75C8-47B9-8F4D-7B0C112FFCB2}" srcOrd="5" destOrd="0" presId="urn:microsoft.com/office/officeart/2005/8/layout/lProcess3"/>
    <dgm:cxn modelId="{4B4F3211-0E33-491D-8AF7-E8033007B443}" type="presParOf" srcId="{1A84AAE2-0808-451B-B00F-51978064A56A}" destId="{C6C71CD6-3C52-4436-AED6-1475095E6966}" srcOrd="6" destOrd="0" presId="urn:microsoft.com/office/officeart/2005/8/layout/lProcess3"/>
    <dgm:cxn modelId="{06C5CA14-5C41-4204-846F-35E77F5CDE65}" type="presParOf" srcId="{1A84AAE2-0808-451B-B00F-51978064A56A}" destId="{99CF8EAF-830F-4A44-A2D6-553AE709BF0C}" srcOrd="7" destOrd="0" presId="urn:microsoft.com/office/officeart/2005/8/layout/lProcess3"/>
    <dgm:cxn modelId="{E72A4589-23AF-4F18-BF76-B4DE4F6EEF14}" type="presParOf" srcId="{1A84AAE2-0808-451B-B00F-51978064A56A}" destId="{6F58A52D-AFF9-49F5-8538-1AB9A54C1571}" srcOrd="8" destOrd="0" presId="urn:microsoft.com/office/officeart/2005/8/layout/lProcess3"/>
    <dgm:cxn modelId="{ED12AC98-406E-4181-B36E-E5DCCA79B2DA}" type="presParOf" srcId="{1A84AAE2-0808-451B-B00F-51978064A56A}" destId="{26A65A6A-FEA9-4FF4-AB74-E96C5C5FD924}" srcOrd="9" destOrd="0" presId="urn:microsoft.com/office/officeart/2005/8/layout/lProcess3"/>
    <dgm:cxn modelId="{3194EB45-0636-4686-9137-AC183D0C0CE3}" type="presParOf" srcId="{1A84AAE2-0808-451B-B00F-51978064A56A}" destId="{9DA68F1C-8A13-4764-9EED-8C5C1AC113E6}" srcOrd="10" destOrd="0" presId="urn:microsoft.com/office/officeart/2005/8/layout/lProcess3"/>
    <dgm:cxn modelId="{DF5CBDB7-2623-46A5-A952-C0DF06C46FF2}" type="presParOf" srcId="{1DE78E1A-287A-4644-911E-2C3E7FDD395B}" destId="{0D952C92-7C21-4671-AE94-64DCC08CB47C}" srcOrd="1" destOrd="0" presId="urn:microsoft.com/office/officeart/2005/8/layout/lProcess3"/>
    <dgm:cxn modelId="{C838AD49-E1E4-4872-AC9A-B11B83F071F1}" type="presParOf" srcId="{1DE78E1A-287A-4644-911E-2C3E7FDD395B}" destId="{FED88096-892B-4EC2-9E54-1AC122C68345}" srcOrd="2" destOrd="0" presId="urn:microsoft.com/office/officeart/2005/8/layout/lProcess3"/>
    <dgm:cxn modelId="{750C95E6-565B-43DF-8EAB-BB598045D0E9}" type="presParOf" srcId="{FED88096-892B-4EC2-9E54-1AC122C68345}" destId="{45A1425D-2946-43E1-B1EC-77043B192449}" srcOrd="0" destOrd="0" presId="urn:microsoft.com/office/officeart/2005/8/layout/lProcess3"/>
    <dgm:cxn modelId="{CA615CAB-EB8B-4A93-93C9-1FC67FBA607B}" type="presParOf" srcId="{FED88096-892B-4EC2-9E54-1AC122C68345}" destId="{6EDFC9BE-7488-47C8-9C6B-A9C6D1E82C02}" srcOrd="1" destOrd="0" presId="urn:microsoft.com/office/officeart/2005/8/layout/lProcess3"/>
    <dgm:cxn modelId="{5BA53591-4418-4DE6-ADB5-ECAAF47B2303}" type="presParOf" srcId="{FED88096-892B-4EC2-9E54-1AC122C68345}" destId="{050DB05E-783F-4CCF-9747-F95A7E32D478}" srcOrd="2" destOrd="0" presId="urn:microsoft.com/office/officeart/2005/8/layout/lProcess3"/>
    <dgm:cxn modelId="{E09145B5-25C5-4651-ADB2-4B7228A525BE}" type="presParOf" srcId="{FED88096-892B-4EC2-9E54-1AC122C68345}" destId="{3F8234F6-BDB0-48B1-8C45-48C899BF167B}" srcOrd="3" destOrd="0" presId="urn:microsoft.com/office/officeart/2005/8/layout/lProcess3"/>
    <dgm:cxn modelId="{FDDAC889-786C-4595-9C72-F764630E9630}" type="presParOf" srcId="{FED88096-892B-4EC2-9E54-1AC122C68345}" destId="{EE523708-1E1B-4AAA-A918-8F0DB46124F9}" srcOrd="4" destOrd="0" presId="urn:microsoft.com/office/officeart/2005/8/layout/lProcess3"/>
    <dgm:cxn modelId="{0A474BF0-7B53-4D3B-BB46-B3B905DA9B6C}" type="presParOf" srcId="{FED88096-892B-4EC2-9E54-1AC122C68345}" destId="{394A353D-2412-4CC3-8B67-F3A0F8C998EB}" srcOrd="5" destOrd="0" presId="urn:microsoft.com/office/officeart/2005/8/layout/lProcess3"/>
    <dgm:cxn modelId="{96C6BCB3-D62C-4445-89F4-5D967A415F50}" type="presParOf" srcId="{FED88096-892B-4EC2-9E54-1AC122C68345}" destId="{87B307EE-F7E3-478C-99DF-363D7920F82C}" srcOrd="6" destOrd="0" presId="urn:microsoft.com/office/officeart/2005/8/layout/lProcess3"/>
    <dgm:cxn modelId="{017CA1E8-334C-4724-ACA9-B08BA176049F}" type="presParOf" srcId="{FED88096-892B-4EC2-9E54-1AC122C68345}" destId="{1F7177C5-C327-4167-AB92-530115D8A37A}" srcOrd="7" destOrd="0" presId="urn:microsoft.com/office/officeart/2005/8/layout/lProcess3"/>
    <dgm:cxn modelId="{8D9D76B5-1C06-466E-9223-DC965F56770C}" type="presParOf" srcId="{FED88096-892B-4EC2-9E54-1AC122C68345}" destId="{CED8139D-1618-489C-91A6-6B435D2A051E}" srcOrd="8" destOrd="0" presId="urn:microsoft.com/office/officeart/2005/8/layout/lProcess3"/>
    <dgm:cxn modelId="{126F53A2-608D-4627-9E22-307208EB89E0}" type="presParOf" srcId="{FED88096-892B-4EC2-9E54-1AC122C68345}" destId="{232C0BA6-DDAE-4F0C-A30C-002BE01369D9}" srcOrd="9" destOrd="0" presId="urn:microsoft.com/office/officeart/2005/8/layout/lProcess3"/>
    <dgm:cxn modelId="{48279FFF-5572-46B4-AA3B-B05EEABA6BB1}" type="presParOf" srcId="{FED88096-892B-4EC2-9E54-1AC122C68345}" destId="{76A59E32-1369-43F3-BA20-12EAEE339E49}" srcOrd="10" destOrd="0" presId="urn:microsoft.com/office/officeart/2005/8/layout/lProcess3"/>
    <dgm:cxn modelId="{A10D23F7-F880-4CC8-97AB-65A298E5F8E7}" type="presParOf" srcId="{1DE78E1A-287A-4644-911E-2C3E7FDD395B}" destId="{91A9BBBC-E226-44ED-B966-18A36F466E5B}" srcOrd="3" destOrd="0" presId="urn:microsoft.com/office/officeart/2005/8/layout/lProcess3"/>
    <dgm:cxn modelId="{592FA729-8145-4D18-B756-C68F20532742}" type="presParOf" srcId="{1DE78E1A-287A-4644-911E-2C3E7FDD395B}" destId="{DAD2B607-B187-469D-B28A-EE687D766071}" srcOrd="4" destOrd="0" presId="urn:microsoft.com/office/officeart/2005/8/layout/lProcess3"/>
    <dgm:cxn modelId="{10021B57-99D7-452F-AD30-D0758ACD36DA}" type="presParOf" srcId="{DAD2B607-B187-469D-B28A-EE687D766071}" destId="{AC514612-8832-4B0F-86D0-3200CCE54AE0}" srcOrd="0" destOrd="0" presId="urn:microsoft.com/office/officeart/2005/8/layout/lProcess3"/>
    <dgm:cxn modelId="{FB910D25-0CDE-47C2-9B19-082D1319B083}" type="presParOf" srcId="{DAD2B607-B187-469D-B28A-EE687D766071}" destId="{71A396D0-074E-437B-B2EF-A0B34E0BE7F7}" srcOrd="1" destOrd="0" presId="urn:microsoft.com/office/officeart/2005/8/layout/lProcess3"/>
    <dgm:cxn modelId="{A652C5B9-1CCD-407C-8055-2F629BCB8D4B}" type="presParOf" srcId="{DAD2B607-B187-469D-B28A-EE687D766071}" destId="{F6BDEFCB-7EF5-4C67-9CC3-C8A5F8837BEC}" srcOrd="2" destOrd="0" presId="urn:microsoft.com/office/officeart/2005/8/layout/lProcess3"/>
    <dgm:cxn modelId="{F75138C2-7F3B-4A06-A333-2041F85A337D}" type="presParOf" srcId="{DAD2B607-B187-469D-B28A-EE687D766071}" destId="{AB380205-9165-48BE-90AF-1D37155F4626}" srcOrd="3" destOrd="0" presId="urn:microsoft.com/office/officeart/2005/8/layout/lProcess3"/>
    <dgm:cxn modelId="{1A5F15D3-A5A1-4A8C-81B7-C7C280F31E86}" type="presParOf" srcId="{DAD2B607-B187-469D-B28A-EE687D766071}" destId="{58186B43-07B2-485C-BAFC-A38A2D2CA252}" srcOrd="4" destOrd="0" presId="urn:microsoft.com/office/officeart/2005/8/layout/lProcess3"/>
    <dgm:cxn modelId="{84EE89C9-E0E2-4A56-BF61-6CE92D98D1F1}" type="presParOf" srcId="{DAD2B607-B187-469D-B28A-EE687D766071}" destId="{7D78B4A9-2CA2-46A7-9724-90A84F6E3D1B}" srcOrd="5" destOrd="0" presId="urn:microsoft.com/office/officeart/2005/8/layout/lProcess3"/>
    <dgm:cxn modelId="{A3E9765F-3125-46B7-960A-427A60457FD2}" type="presParOf" srcId="{DAD2B607-B187-469D-B28A-EE687D766071}" destId="{0147A711-EAE7-444C-88B2-0E0CB88E6274}" srcOrd="6" destOrd="0" presId="urn:microsoft.com/office/officeart/2005/8/layout/lProcess3"/>
    <dgm:cxn modelId="{5CCCBA00-1852-489B-AF9D-764F6920A961}" type="presParOf" srcId="{DAD2B607-B187-469D-B28A-EE687D766071}" destId="{83242370-A8A0-49D9-8F01-B0DBCCE9E329}" srcOrd="7" destOrd="0" presId="urn:microsoft.com/office/officeart/2005/8/layout/lProcess3"/>
    <dgm:cxn modelId="{408F77B0-5725-4833-A6F1-EEFF94D0785F}" type="presParOf" srcId="{DAD2B607-B187-469D-B28A-EE687D766071}" destId="{9FA528D7-26AC-4E04-B14F-E0155359DB2B}" srcOrd="8" destOrd="0" presId="urn:microsoft.com/office/officeart/2005/8/layout/lProcess3"/>
    <dgm:cxn modelId="{34B7B0BB-AC67-4C22-B383-374F59BFDCC0}" type="presParOf" srcId="{DAD2B607-B187-469D-B28A-EE687D766071}" destId="{830719E3-B039-41C3-82E1-9E3518710380}" srcOrd="9" destOrd="0" presId="urn:microsoft.com/office/officeart/2005/8/layout/lProcess3"/>
    <dgm:cxn modelId="{6A9353A4-2133-49B4-B11B-25B5C1EFD7C6}" type="presParOf" srcId="{DAD2B607-B187-469D-B28A-EE687D766071}" destId="{6E216FF8-2780-4ABE-969B-CDD8F6583DDC}" srcOrd="10" destOrd="0" presId="urn:microsoft.com/office/officeart/2005/8/layout/lProcess3"/>
    <dgm:cxn modelId="{5E115026-1A78-47EC-B3B9-C6FDE6A3F4E8}" type="presParOf" srcId="{1DE78E1A-287A-4644-911E-2C3E7FDD395B}" destId="{8666EA12-234D-4CB4-8E75-0C81F718C0A9}" srcOrd="5" destOrd="0" presId="urn:microsoft.com/office/officeart/2005/8/layout/lProcess3"/>
    <dgm:cxn modelId="{DCA1D852-6117-4736-8EBA-50E6F909EDED}" type="presParOf" srcId="{1DE78E1A-287A-4644-911E-2C3E7FDD395B}" destId="{0D0AE263-B1EA-44DD-9FE2-9CAC606D6FC5}" srcOrd="6" destOrd="0" presId="urn:microsoft.com/office/officeart/2005/8/layout/lProcess3"/>
    <dgm:cxn modelId="{50D7AD5F-9B18-4CF5-9461-59BB5EBFC5EB}" type="presParOf" srcId="{0D0AE263-B1EA-44DD-9FE2-9CAC606D6FC5}" destId="{01295B02-5629-4790-BB4D-A7650C590746}" srcOrd="0" destOrd="0" presId="urn:microsoft.com/office/officeart/2005/8/layout/lProcess3"/>
    <dgm:cxn modelId="{D614DE7C-0F7B-4A82-B391-2177E6EB656A}" type="presParOf" srcId="{0D0AE263-B1EA-44DD-9FE2-9CAC606D6FC5}" destId="{A75BC414-AEA6-434B-B674-287E649E0B5D}" srcOrd="1" destOrd="0" presId="urn:microsoft.com/office/officeart/2005/8/layout/lProcess3"/>
    <dgm:cxn modelId="{08BBBF0A-BC97-4D66-B6A1-6C5384587FBA}" type="presParOf" srcId="{0D0AE263-B1EA-44DD-9FE2-9CAC606D6FC5}" destId="{6EF753EC-17CD-46A6-81D5-6C737C6C4D8F}" srcOrd="2" destOrd="0" presId="urn:microsoft.com/office/officeart/2005/8/layout/lProcess3"/>
    <dgm:cxn modelId="{E7B52315-F888-4FB9-8EAF-5F269D19EDD9}" type="presParOf" srcId="{0D0AE263-B1EA-44DD-9FE2-9CAC606D6FC5}" destId="{F90259C5-94CE-4646-9BBB-9D77BAFCC246}" srcOrd="3" destOrd="0" presId="urn:microsoft.com/office/officeart/2005/8/layout/lProcess3"/>
    <dgm:cxn modelId="{6B494ED2-D653-412A-9B2C-E1A385520822}" type="presParOf" srcId="{0D0AE263-B1EA-44DD-9FE2-9CAC606D6FC5}" destId="{63D44174-705A-471D-8957-98F128C02313}" srcOrd="4" destOrd="0" presId="urn:microsoft.com/office/officeart/2005/8/layout/lProcess3"/>
    <dgm:cxn modelId="{224B64EA-CD0E-4FA3-A85E-1D54DCECD0FD}" type="presParOf" srcId="{0D0AE263-B1EA-44DD-9FE2-9CAC606D6FC5}" destId="{F97E5AF9-947E-4CC6-9073-F777788D2625}" srcOrd="5" destOrd="0" presId="urn:microsoft.com/office/officeart/2005/8/layout/lProcess3"/>
    <dgm:cxn modelId="{EBAD3D41-9233-4304-8413-BA30350E04F8}" type="presParOf" srcId="{0D0AE263-B1EA-44DD-9FE2-9CAC606D6FC5}" destId="{A7989C51-1EF4-4500-81D6-6D719DDD68D0}" srcOrd="6" destOrd="0" presId="urn:microsoft.com/office/officeart/2005/8/layout/lProcess3"/>
    <dgm:cxn modelId="{55322381-A1F4-4096-9562-23DEEC8CFEDE}" type="presParOf" srcId="{0D0AE263-B1EA-44DD-9FE2-9CAC606D6FC5}" destId="{49AEC048-1AAE-4592-9445-E9DFA3B4AE30}" srcOrd="7" destOrd="0" presId="urn:microsoft.com/office/officeart/2005/8/layout/lProcess3"/>
    <dgm:cxn modelId="{514DB903-515B-47F0-AF3F-37CBE505991C}" type="presParOf" srcId="{0D0AE263-B1EA-44DD-9FE2-9CAC606D6FC5}" destId="{A13861A0-3C4D-407A-AD33-595EDBF2F097}" srcOrd="8" destOrd="0" presId="urn:microsoft.com/office/officeart/2005/8/layout/lProcess3"/>
    <dgm:cxn modelId="{E5B4B962-20B0-4FE4-81F2-F884317740DD}" type="presParOf" srcId="{0D0AE263-B1EA-44DD-9FE2-9CAC606D6FC5}" destId="{4A81BF62-7FD5-4E20-9909-F9C72ED58289}" srcOrd="9" destOrd="0" presId="urn:microsoft.com/office/officeart/2005/8/layout/lProcess3"/>
    <dgm:cxn modelId="{CA5657B5-167D-4D10-9C29-4BE85B326F2E}" type="presParOf" srcId="{0D0AE263-B1EA-44DD-9FE2-9CAC606D6FC5}" destId="{0EE2C3EC-54D5-48DD-BB5E-1E84B5C6767E}" srcOrd="10" destOrd="0" presId="urn:microsoft.com/office/officeart/2005/8/layout/lProcess3"/>
    <dgm:cxn modelId="{C9059DE4-524E-4262-BBB3-6DF9611E58F0}" type="presParOf" srcId="{1DE78E1A-287A-4644-911E-2C3E7FDD395B}" destId="{DCF6DC2F-5145-4A69-9352-14B4B105CEA7}" srcOrd="7" destOrd="0" presId="urn:microsoft.com/office/officeart/2005/8/layout/lProcess3"/>
    <dgm:cxn modelId="{F7857194-1AE9-4758-AEBD-9E7B3A5474B8}" type="presParOf" srcId="{1DE78E1A-287A-4644-911E-2C3E7FDD395B}" destId="{B96505B2-8244-4CEC-B020-828904E4E906}" srcOrd="8" destOrd="0" presId="urn:microsoft.com/office/officeart/2005/8/layout/lProcess3"/>
    <dgm:cxn modelId="{DF9F2F89-2C42-485F-8247-D1698F987F36}" type="presParOf" srcId="{B96505B2-8244-4CEC-B020-828904E4E906}" destId="{369C16FF-CB50-4D98-9172-0EA7B2F7C0E9}" srcOrd="0" destOrd="0" presId="urn:microsoft.com/office/officeart/2005/8/layout/lProcess3"/>
    <dgm:cxn modelId="{DE49424A-593C-40FC-BA9F-2874408692CB}" type="presParOf" srcId="{B96505B2-8244-4CEC-B020-828904E4E906}" destId="{C7EE0844-4E45-4E96-9DFA-0A8C0F2C9AA6}" srcOrd="1" destOrd="0" presId="urn:microsoft.com/office/officeart/2005/8/layout/lProcess3"/>
    <dgm:cxn modelId="{01C36C4E-2B8F-4FD6-91EB-5E3E053627E1}" type="presParOf" srcId="{B96505B2-8244-4CEC-B020-828904E4E906}" destId="{F9B40E24-8054-4554-8AF6-D6B681E13EA0}" srcOrd="2" destOrd="0" presId="urn:microsoft.com/office/officeart/2005/8/layout/lProcess3"/>
    <dgm:cxn modelId="{4A11EAFA-E02E-475A-BA17-141D0EF9EE0A}" type="presParOf" srcId="{B96505B2-8244-4CEC-B020-828904E4E906}" destId="{C5B67E5E-B363-42E2-80C1-79C2B5650A3A}" srcOrd="3" destOrd="0" presId="urn:microsoft.com/office/officeart/2005/8/layout/lProcess3"/>
    <dgm:cxn modelId="{596FC311-7E47-44D5-805C-B45E2CF42654}" type="presParOf" srcId="{B96505B2-8244-4CEC-B020-828904E4E906}" destId="{F7823181-D95C-4548-8D31-3B61A998A8F3}" srcOrd="4" destOrd="0" presId="urn:microsoft.com/office/officeart/2005/8/layout/lProcess3"/>
    <dgm:cxn modelId="{33C7CDB5-2F78-4CE4-A69A-BE686111EB9F}" type="presParOf" srcId="{B96505B2-8244-4CEC-B020-828904E4E906}" destId="{AC437654-8085-4057-89E9-126A4BC75DAF}" srcOrd="5" destOrd="0" presId="urn:microsoft.com/office/officeart/2005/8/layout/lProcess3"/>
    <dgm:cxn modelId="{1DC76683-74EC-4263-8B86-EB88A3604628}" type="presParOf" srcId="{B96505B2-8244-4CEC-B020-828904E4E906}" destId="{54E5B12B-5A5F-4DFD-A255-6C8C32526395}" srcOrd="6" destOrd="0" presId="urn:microsoft.com/office/officeart/2005/8/layout/lProcess3"/>
    <dgm:cxn modelId="{B87BFC85-B4BE-430E-9B2A-D52951171164}" type="presParOf" srcId="{B96505B2-8244-4CEC-B020-828904E4E906}" destId="{DE0F41F1-1B55-44E1-9D5A-189E52E87322}" srcOrd="7" destOrd="0" presId="urn:microsoft.com/office/officeart/2005/8/layout/lProcess3"/>
    <dgm:cxn modelId="{75369953-6E9B-4ADD-8257-256B0B061AAB}" type="presParOf" srcId="{B96505B2-8244-4CEC-B020-828904E4E906}" destId="{9D541BD9-D6A2-43C7-B91C-2D697E81376F}" srcOrd="8" destOrd="0" presId="urn:microsoft.com/office/officeart/2005/8/layout/lProcess3"/>
    <dgm:cxn modelId="{8341DEC8-1DCA-483B-A920-E399B635FA8A}" type="presParOf" srcId="{B96505B2-8244-4CEC-B020-828904E4E906}" destId="{603039C6-CA7A-4BF0-B9C3-E55981299194}" srcOrd="9" destOrd="0" presId="urn:microsoft.com/office/officeart/2005/8/layout/lProcess3"/>
    <dgm:cxn modelId="{E75BD234-760B-4A8A-A120-C1675BCE22C4}" type="presParOf" srcId="{B96505B2-8244-4CEC-B020-828904E4E906}" destId="{267F98CF-3B0B-4374-BA95-4747FC32EBB6}" srcOrd="10" destOrd="0" presId="urn:microsoft.com/office/officeart/2005/8/layout/lProcess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chemeClr val="accent1"/>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a:solidFill>
          <a:srgbClr val="C00000"/>
        </a:solidFill>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chemeClr val="accent1"/>
        </a:solidFill>
      </dgm:spPr>
      <dgm:t>
        <a:bodyPr/>
        <a:lstStyle/>
        <a:p>
          <a:r>
            <a:rPr lang="nl-NL" sz="700" b="1"/>
            <a:t>Basis op orde</a:t>
          </a:r>
        </a:p>
      </dgm:t>
    </dgm:pt>
    <dgm:pt modelId="{90CEC079-2C69-41B6-A11B-29F32A953409}" type="parTrans" cxnId="{136CBB68-B79D-4521-AE05-448CD2A0E6BA}">
      <dgm:prSet/>
      <dgm:spPr/>
      <dgm:t>
        <a:bodyPr/>
        <a:lstStyle/>
        <a:p>
          <a:endParaRPr lang="nl-NL" sz="700"/>
        </a:p>
      </dgm:t>
    </dgm:pt>
    <dgm:pt modelId="{4C5F13E2-FD46-474E-9734-841DF2E80CD5}" type="sibTrans" cxnId="{136CBB68-B79D-4521-AE05-448CD2A0E6BA}">
      <dgm:prSet/>
      <dgm:spPr/>
      <dgm:t>
        <a:bodyPr/>
        <a:lstStyle/>
        <a:p>
          <a:endParaRPr lang="nl-NL" sz="700"/>
        </a:p>
      </dgm:t>
    </dgm:pt>
    <dgm:pt modelId="{FBBC417D-E75A-4A89-90B5-F76D2564EA98}">
      <dgm:prSet phldrT="[Tekst]" custT="1"/>
      <dgm:spPr>
        <a:solidFill>
          <a:schemeClr val="accent1"/>
        </a:solidFill>
      </dgm:spPr>
      <dgm:t>
        <a:bodyPr/>
        <a:lstStyle/>
        <a:p>
          <a:r>
            <a:rPr lang="nl-NL" sz="700" err="1"/>
            <a:t>Vernieuw-ing</a:t>
          </a:r>
          <a:endParaRPr lang="nl-NL" sz="700"/>
        </a:p>
      </dgm:t>
    </dgm:pt>
    <dgm:pt modelId="{017A22D2-AB94-4F34-AE80-AE4198788B30}" type="parTrans" cxnId="{53B4E618-B6DE-4430-9FAD-3105A6B819D5}">
      <dgm:prSet/>
      <dgm:spPr/>
      <dgm:t>
        <a:bodyPr/>
        <a:lstStyle/>
        <a:p>
          <a:endParaRPr lang="nl-NL" sz="700"/>
        </a:p>
      </dgm:t>
    </dgm:pt>
    <dgm:pt modelId="{DE8A5A4F-72F1-4A7A-AF3F-37A2C95F5B5B}" type="sibTrans" cxnId="{53B4E618-B6DE-4430-9FAD-3105A6B819D5}">
      <dgm:prSet/>
      <dgm:spPr/>
      <dgm:t>
        <a:bodyPr/>
        <a:lstStyle/>
        <a:p>
          <a:endParaRPr lang="nl-NL" sz="700"/>
        </a:p>
      </dgm:t>
    </dgm:pt>
    <dgm:pt modelId="{33643B5F-5FC7-4C05-9884-05240B030279}">
      <dgm:prSet phldrT="[Tekst]" custT="1"/>
      <dgm:spPr>
        <a:solidFill>
          <a:srgbClr val="C00000"/>
        </a:solidFill>
      </dgm:spPr>
      <dgm:t>
        <a:bodyPr/>
        <a:lstStyle/>
        <a:p>
          <a:r>
            <a:rPr lang="nl-NL" sz="700"/>
            <a:t>Data</a:t>
          </a:r>
        </a:p>
      </dgm:t>
    </dgm:pt>
    <dgm:pt modelId="{685934F8-BE15-4034-8B7A-6B1669A529F6}" type="parTrans" cxnId="{748CEF89-6D06-4022-B0A5-3C5BC5FAB125}">
      <dgm:prSet/>
      <dgm:spPr/>
      <dgm:t>
        <a:bodyPr/>
        <a:lstStyle/>
        <a:p>
          <a:endParaRPr lang="nl-NL" sz="700"/>
        </a:p>
      </dgm:t>
    </dgm:pt>
    <dgm:pt modelId="{EAB910D8-57FA-42B6-966E-85994268F6BF}" type="sibTrans" cxnId="{748CEF89-6D06-4022-B0A5-3C5BC5FAB125}">
      <dgm:prSet/>
      <dgm:spPr/>
      <dgm:t>
        <a:bodyPr/>
        <a:lstStyle/>
        <a:p>
          <a:endParaRPr lang="nl-NL" sz="7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4320" custLinFactNeighborY="320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custLinFactNeighborX="864" custLinFactNeighborY="-318"/>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4C25754-AF2E-445A-B1C4-208C361E302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647DD7A5-0012-436B-BAB9-BDE52DC25B90}">
      <dgm:prSet phldrT="[Tekst]" custT="1"/>
      <dgm:spPr>
        <a:solidFill>
          <a:srgbClr val="C00000"/>
        </a:solidFill>
      </dgm:spPr>
      <dgm:t>
        <a:bodyPr/>
        <a:lstStyle/>
        <a:p>
          <a:r>
            <a:rPr lang="nl-NL" sz="1000" smtClean="0">
              <a:solidFill>
                <a:schemeClr val="bg1"/>
              </a:solidFill>
            </a:rPr>
            <a:t>Keten-samenwerking</a:t>
          </a:r>
          <a:endParaRPr lang="nl-NL" sz="1000">
            <a:solidFill>
              <a:schemeClr val="bg1"/>
            </a:solidFill>
          </a:endParaRPr>
        </a:p>
      </dgm:t>
    </dgm:pt>
    <dgm:pt modelId="{3AB16B59-D0CB-483E-BCBC-D5B2E737CB7D}" type="parTrans" cxnId="{3F8CF7C8-6210-42A5-8DA3-FA0302C8434A}">
      <dgm:prSet/>
      <dgm:spPr/>
      <dgm:t>
        <a:bodyPr/>
        <a:lstStyle/>
        <a:p>
          <a:endParaRPr lang="nl-NL" sz="1000"/>
        </a:p>
      </dgm:t>
    </dgm:pt>
    <dgm:pt modelId="{706A9391-DCC8-4EEB-A18D-BE55B315846C}" type="sibTrans" cxnId="{3F8CF7C8-6210-42A5-8DA3-FA0302C8434A}">
      <dgm:prSet/>
      <dgm:spPr/>
      <dgm:t>
        <a:bodyPr/>
        <a:lstStyle/>
        <a:p>
          <a:endParaRPr lang="nl-NL" sz="1000"/>
        </a:p>
      </dgm:t>
    </dgm:pt>
    <dgm:pt modelId="{6D8F2393-DBD3-466D-BB9D-AE10062D1E45}">
      <dgm:prSet phldrT="[Tekst]" custT="1"/>
      <dgm:spPr>
        <a:solidFill>
          <a:schemeClr val="accent1">
            <a:lumMod val="90000"/>
            <a:alpha val="90000"/>
          </a:schemeClr>
        </a:solidFill>
        <a:ln>
          <a:solidFill>
            <a:schemeClr val="accent1">
              <a:lumMod val="90000"/>
              <a:alpha val="90000"/>
            </a:schemeClr>
          </a:solidFill>
        </a:ln>
      </dgm:spPr>
      <dgm:t>
        <a:bodyPr/>
        <a:lstStyle/>
        <a:p>
          <a:pPr>
            <a:buFontTx/>
            <a:buNone/>
          </a:pPr>
          <a:r>
            <a:rPr lang="nl-NL" sz="900" dirty="0">
              <a:solidFill>
                <a:schemeClr val="tx1"/>
              </a:solidFill>
            </a:rPr>
            <a:t>Inrichten keten </a:t>
          </a:r>
          <a:r>
            <a:rPr lang="nl-NL" sz="900" dirty="0" smtClean="0">
              <a:solidFill>
                <a:schemeClr val="tx1"/>
              </a:solidFill>
            </a:rPr>
            <a:t>leverancier-tot-klantgroep</a:t>
          </a:r>
        </a:p>
        <a:p>
          <a:pPr>
            <a:buFontTx/>
            <a:buNone/>
          </a:pPr>
          <a:r>
            <a:rPr lang="nl-NL" sz="900" dirty="0" err="1" smtClean="0">
              <a:solidFill>
                <a:schemeClr val="tx1"/>
              </a:solidFill>
            </a:rPr>
            <a:t>Api</a:t>
          </a:r>
          <a:r>
            <a:rPr lang="nl-NL" sz="900" dirty="0" smtClean="0">
              <a:solidFill>
                <a:schemeClr val="tx1"/>
              </a:solidFill>
            </a:rPr>
            <a:t>-beleid vastgesteld</a:t>
          </a:r>
          <a:endParaRPr lang="nl-NL" sz="900" dirty="0">
            <a:solidFill>
              <a:schemeClr val="tx1"/>
            </a:solidFill>
          </a:endParaRPr>
        </a:p>
      </dgm:t>
    </dgm:pt>
    <dgm:pt modelId="{583416F9-FBC6-4C82-8614-951CEE12CD70}" type="parTrans" cxnId="{D65ABC08-8E9F-48FB-9C91-F5256B3DDC67}">
      <dgm:prSet/>
      <dgm:spPr/>
      <dgm:t>
        <a:bodyPr/>
        <a:lstStyle/>
        <a:p>
          <a:endParaRPr lang="nl-NL" sz="1000"/>
        </a:p>
      </dgm:t>
    </dgm:pt>
    <dgm:pt modelId="{03DE5228-1E63-4C54-9AE4-3B883B2F1DBA}" type="sibTrans" cxnId="{D65ABC08-8E9F-48FB-9C91-F5256B3DDC67}">
      <dgm:prSet/>
      <dgm:spPr/>
      <dgm:t>
        <a:bodyPr/>
        <a:lstStyle/>
        <a:p>
          <a:endParaRPr lang="nl-NL" sz="1000"/>
        </a:p>
      </dgm:t>
    </dgm:pt>
    <dgm:pt modelId="{545954EC-4953-467F-8E27-933BAB5A8E05}">
      <dgm:prSet phldrT="[Tekst]" custT="1"/>
      <dgm:spPr/>
      <dgm:t>
        <a:bodyPr/>
        <a:lstStyle/>
        <a:p>
          <a:pPr>
            <a:buFont typeface="+mj-lt"/>
            <a:buNone/>
          </a:pPr>
          <a:r>
            <a:rPr lang="nl-NL" sz="900" dirty="0">
              <a:solidFill>
                <a:schemeClr val="tx1"/>
              </a:solidFill>
            </a:rPr>
            <a:t>Ketenmonitoring uitbreiden naar externe partners (bijv. leveranciers)</a:t>
          </a:r>
        </a:p>
      </dgm:t>
    </dgm:pt>
    <dgm:pt modelId="{E031E22B-55B8-4FED-A7B2-47054E3D78C2}" type="parTrans" cxnId="{80260B3B-B79C-46B4-97AA-A804C2A3920E}">
      <dgm:prSet/>
      <dgm:spPr/>
      <dgm:t>
        <a:bodyPr/>
        <a:lstStyle/>
        <a:p>
          <a:endParaRPr lang="nl-NL" sz="1000"/>
        </a:p>
      </dgm:t>
    </dgm:pt>
    <dgm:pt modelId="{3195B29B-0B9A-47B3-B2F4-4FDC8876F8E7}" type="sibTrans" cxnId="{80260B3B-B79C-46B4-97AA-A804C2A3920E}">
      <dgm:prSet/>
      <dgm:spPr/>
      <dgm:t>
        <a:bodyPr/>
        <a:lstStyle/>
        <a:p>
          <a:endParaRPr lang="nl-NL" sz="1000"/>
        </a:p>
      </dgm:t>
    </dgm:pt>
    <dgm:pt modelId="{22C9BA16-C912-4AB8-B16E-FF797935FE95}">
      <dgm:prSet phldrT="[Tekst]" custT="1"/>
      <dgm:spPr>
        <a:solidFill>
          <a:srgbClr val="C00000"/>
        </a:solidFill>
        <a:ln>
          <a:solidFill>
            <a:schemeClr val="bg1"/>
          </a:solidFill>
        </a:ln>
      </dgm:spPr>
      <dgm:t>
        <a:bodyPr/>
        <a:lstStyle/>
        <a:p>
          <a:r>
            <a:rPr lang="nl-NL" sz="900" dirty="0">
              <a:solidFill>
                <a:schemeClr val="bg1"/>
              </a:solidFill>
            </a:rPr>
            <a:t>Automatisering</a:t>
          </a:r>
        </a:p>
      </dgm:t>
    </dgm:pt>
    <dgm:pt modelId="{93B98DF1-7871-4E1C-BCA9-B7D1E46536EC}" type="parTrans" cxnId="{C244C082-4F01-4C68-ACB6-0E8FA3198B3E}">
      <dgm:prSet/>
      <dgm:spPr/>
      <dgm:t>
        <a:bodyPr/>
        <a:lstStyle/>
        <a:p>
          <a:endParaRPr lang="nl-NL" sz="1000"/>
        </a:p>
      </dgm:t>
    </dgm:pt>
    <dgm:pt modelId="{92090AD9-6C79-48EC-9401-F0B181673841}" type="sibTrans" cxnId="{C244C082-4F01-4C68-ACB6-0E8FA3198B3E}">
      <dgm:prSet/>
      <dgm:spPr/>
      <dgm:t>
        <a:bodyPr/>
        <a:lstStyle/>
        <a:p>
          <a:endParaRPr lang="nl-NL" sz="1000"/>
        </a:p>
      </dgm:t>
    </dgm:pt>
    <dgm:pt modelId="{17FA8828-52A2-4AF5-B391-AB85135831D1}">
      <dgm:prSet phldrT="[Tekst]" custT="1"/>
      <dgm:spPr>
        <a:solidFill>
          <a:schemeClr val="accent1">
            <a:lumMod val="90000"/>
            <a:alpha val="90000"/>
          </a:schemeClr>
        </a:solidFill>
        <a:ln>
          <a:solidFill>
            <a:schemeClr val="accent1">
              <a:lumMod val="90000"/>
              <a:alpha val="90000"/>
            </a:schemeClr>
          </a:solidFill>
        </a:ln>
      </dgm:spPr>
      <dgm:t>
        <a:bodyPr/>
        <a:lstStyle/>
        <a:p>
          <a:pPr>
            <a:buClrTx/>
            <a:buSzTx/>
            <a:buFont typeface="+mj-lt"/>
            <a:buNone/>
          </a:pPr>
          <a:r>
            <a:rPr lang="nl-NL" sz="900" dirty="0" err="1" smtClean="0"/>
            <a:t>Mediation</a:t>
          </a:r>
          <a:r>
            <a:rPr lang="nl-NL" sz="900" baseline="0" dirty="0" smtClean="0"/>
            <a:t> Proces</a:t>
          </a:r>
        </a:p>
        <a:p>
          <a:pPr>
            <a:buClrTx/>
            <a:buSzTx/>
            <a:buFont typeface="+mj-lt"/>
            <a:buNone/>
          </a:pPr>
          <a:r>
            <a:rPr lang="nl-NL" sz="900" baseline="0" dirty="0" smtClean="0"/>
            <a:t>Beroep en Bezwaar</a:t>
          </a:r>
          <a:endParaRPr lang="nl-NL" sz="900" dirty="0"/>
        </a:p>
      </dgm:t>
    </dgm:pt>
    <dgm:pt modelId="{7C76C83D-CE5B-4D7C-AD83-B4E39CEEF00A}" type="parTrans" cxnId="{ED905CA8-78C4-4B26-B4F3-FBE3111ED1C6}">
      <dgm:prSet/>
      <dgm:spPr/>
      <dgm:t>
        <a:bodyPr/>
        <a:lstStyle/>
        <a:p>
          <a:endParaRPr lang="nl-NL" sz="1000"/>
        </a:p>
      </dgm:t>
    </dgm:pt>
    <dgm:pt modelId="{5831FBD0-5DF6-4737-9D40-31BD670C5784}" type="sibTrans" cxnId="{ED905CA8-78C4-4B26-B4F3-FBE3111ED1C6}">
      <dgm:prSet/>
      <dgm:spPr/>
      <dgm:t>
        <a:bodyPr/>
        <a:lstStyle/>
        <a:p>
          <a:endParaRPr lang="nl-NL" sz="1000"/>
        </a:p>
      </dgm:t>
    </dgm:pt>
    <dgm:pt modelId="{1C057D00-7046-4C92-8845-E659397CD6FE}">
      <dgm:prSet phldrT="[Tekst]" custT="1"/>
      <dgm:spPr/>
      <dgm:t>
        <a:bodyPr/>
        <a:lstStyle/>
        <a:p>
          <a:pPr>
            <a:spcAft>
              <a:spcPts val="400"/>
            </a:spcAft>
          </a:pPr>
          <a:r>
            <a:rPr lang="nl-NL" sz="900" dirty="0" smtClean="0"/>
            <a:t>Proces asielaanvragen</a:t>
          </a:r>
        </a:p>
        <a:p>
          <a:pPr>
            <a:spcAft>
              <a:spcPts val="400"/>
            </a:spcAft>
          </a:pPr>
          <a:r>
            <a:rPr lang="nl-NL" sz="900" dirty="0" smtClean="0"/>
            <a:t>Proces Extra uren</a:t>
          </a:r>
          <a:endParaRPr lang="nl-NL" sz="900" dirty="0"/>
        </a:p>
      </dgm:t>
    </dgm:pt>
    <dgm:pt modelId="{5CCF2DFA-AA14-4223-93C4-29A2BEE342FE}" type="parTrans" cxnId="{BC9DE52F-0BB5-4ACB-9274-779AEBE21803}">
      <dgm:prSet/>
      <dgm:spPr/>
      <dgm:t>
        <a:bodyPr/>
        <a:lstStyle/>
        <a:p>
          <a:endParaRPr lang="nl-NL" sz="1000"/>
        </a:p>
      </dgm:t>
    </dgm:pt>
    <dgm:pt modelId="{9F92A93D-431C-4D58-AC15-E971BD7417E8}" type="sibTrans" cxnId="{BC9DE52F-0BB5-4ACB-9274-779AEBE21803}">
      <dgm:prSet/>
      <dgm:spPr/>
      <dgm:t>
        <a:bodyPr/>
        <a:lstStyle/>
        <a:p>
          <a:endParaRPr lang="nl-NL" sz="1000"/>
        </a:p>
      </dgm:t>
    </dgm:pt>
    <dgm:pt modelId="{1D0431D3-64B3-4A2A-BC98-318609876B89}">
      <dgm:prSet phldrT="[Tekst]" custT="1"/>
      <dgm:spPr>
        <a:solidFill>
          <a:srgbClr val="C00000"/>
        </a:solidFill>
        <a:ln>
          <a:solidFill>
            <a:schemeClr val="bg1"/>
          </a:solidFill>
        </a:ln>
      </dgm:spPr>
      <dgm:t>
        <a:bodyPr/>
        <a:lstStyle/>
        <a:p>
          <a:r>
            <a:rPr lang="nl-NL" sz="1000">
              <a:solidFill>
                <a:schemeClr val="bg1"/>
              </a:solidFill>
            </a:rPr>
            <a:t>Zelfhulp</a:t>
          </a:r>
        </a:p>
      </dgm:t>
    </dgm:pt>
    <dgm:pt modelId="{8F056A3C-46EE-4105-96AC-805B07284C64}" type="parTrans" cxnId="{CA0D4426-5DC5-4E15-8CD4-69B9B9213E44}">
      <dgm:prSet/>
      <dgm:spPr/>
      <dgm:t>
        <a:bodyPr/>
        <a:lstStyle/>
        <a:p>
          <a:endParaRPr lang="nl-NL" sz="1000"/>
        </a:p>
      </dgm:t>
    </dgm:pt>
    <dgm:pt modelId="{8B27C768-6F47-4415-9EAC-93F37110362D}" type="sibTrans" cxnId="{CA0D4426-5DC5-4E15-8CD4-69B9B9213E44}">
      <dgm:prSet/>
      <dgm:spPr/>
      <dgm:t>
        <a:bodyPr/>
        <a:lstStyle/>
        <a:p>
          <a:endParaRPr lang="nl-NL" sz="1000"/>
        </a:p>
      </dgm:t>
    </dgm:pt>
    <dgm:pt modelId="{C0C666D5-C6AE-48A4-8BEB-1E0B4423CC7F}">
      <dgm:prSet phldrT="[Tekst]" custT="1"/>
      <dgm:spPr>
        <a:solidFill>
          <a:schemeClr val="accent1">
            <a:lumMod val="90000"/>
            <a:alpha val="90000"/>
          </a:schemeClr>
        </a:solidFill>
        <a:ln>
          <a:solidFill>
            <a:schemeClr val="accent1">
              <a:lumMod val="90000"/>
              <a:alpha val="90000"/>
            </a:schemeClr>
          </a:solidFill>
        </a:ln>
      </dgm:spPr>
      <dgm:t>
        <a:bodyPr/>
        <a:lstStyle/>
        <a:p>
          <a:pPr>
            <a:buFont typeface="Arial" panose="020B0604020202020204" pitchFamily="34" charset="0"/>
            <a:buNone/>
          </a:pPr>
          <a:r>
            <a:rPr lang="nl-NL" sz="900"/>
            <a:t>Opties voor zelfhulp binnen portalen uitzoeken</a:t>
          </a:r>
        </a:p>
      </dgm:t>
    </dgm:pt>
    <dgm:pt modelId="{7BCAD824-9F6C-4E51-8307-99177976A87F}" type="parTrans" cxnId="{3BB2DC6F-AEAE-401D-A71C-27E6D32EC4FB}">
      <dgm:prSet/>
      <dgm:spPr/>
      <dgm:t>
        <a:bodyPr/>
        <a:lstStyle/>
        <a:p>
          <a:endParaRPr lang="nl-NL" sz="1000"/>
        </a:p>
      </dgm:t>
    </dgm:pt>
    <dgm:pt modelId="{DEFB9FE7-85F7-46CA-BCD3-991BFEB6948F}" type="sibTrans" cxnId="{3BB2DC6F-AEAE-401D-A71C-27E6D32EC4FB}">
      <dgm:prSet/>
      <dgm:spPr/>
      <dgm:t>
        <a:bodyPr/>
        <a:lstStyle/>
        <a:p>
          <a:endParaRPr lang="nl-NL" sz="1000"/>
        </a:p>
      </dgm:t>
    </dgm:pt>
    <dgm:pt modelId="{1DD1AC1D-B569-457A-ABD8-ECBDB05C5B6B}">
      <dgm:prSet phldrT="[Tekst]" custT="1"/>
      <dgm:spPr/>
      <dgm:t>
        <a:bodyPr/>
        <a:lstStyle/>
        <a:p>
          <a:pPr>
            <a:buClrTx/>
            <a:buSzTx/>
            <a:buFont typeface="Arial" panose="020B0604020202020204" pitchFamily="34" charset="0"/>
            <a:buNone/>
          </a:pPr>
          <a:r>
            <a:rPr lang="nl-NL" sz="900" dirty="0"/>
            <a:t>Mogelijkheden </a:t>
          </a:r>
          <a:r>
            <a:rPr lang="nl-NL" sz="900" dirty="0" err="1"/>
            <a:t>chatbot</a:t>
          </a:r>
          <a:r>
            <a:rPr lang="nl-NL" sz="900" dirty="0"/>
            <a:t> o.i.d. onderzoeken</a:t>
          </a:r>
          <a:endParaRPr lang="nl-NL" sz="900" dirty="0">
            <a:solidFill>
              <a:srgbClr val="C00000"/>
            </a:solidFill>
          </a:endParaRPr>
        </a:p>
      </dgm:t>
    </dgm:pt>
    <dgm:pt modelId="{E1011E1B-B118-4875-B78A-2BFFE230438F}" type="parTrans" cxnId="{03C42A38-BDB9-4D6B-A478-6FFCEEADCCBC}">
      <dgm:prSet/>
      <dgm:spPr/>
      <dgm:t>
        <a:bodyPr/>
        <a:lstStyle/>
        <a:p>
          <a:endParaRPr lang="nl-NL" sz="1000"/>
        </a:p>
      </dgm:t>
    </dgm:pt>
    <dgm:pt modelId="{B22F1A8F-FD9D-4176-86A1-F295A23BFA9F}" type="sibTrans" cxnId="{03C42A38-BDB9-4D6B-A478-6FFCEEADCCBC}">
      <dgm:prSet/>
      <dgm:spPr/>
      <dgm:t>
        <a:bodyPr/>
        <a:lstStyle/>
        <a:p>
          <a:endParaRPr lang="nl-NL" sz="1000"/>
        </a:p>
      </dgm:t>
    </dgm:pt>
    <dgm:pt modelId="{0EEE7DE5-2B00-458B-BCAB-CB504BAD12E7}">
      <dgm:prSet custT="1"/>
      <dgm:spPr/>
      <dgm:t>
        <a:bodyPr/>
        <a:lstStyle/>
        <a:p>
          <a:r>
            <a:rPr lang="nl-NL" sz="900"/>
            <a:t>Randvoorwaarden scheppen voor ketensamenwerking door hanteren van open standaarden</a:t>
          </a:r>
        </a:p>
      </dgm:t>
    </dgm:pt>
    <dgm:pt modelId="{BE541403-E310-4737-9C4F-EFF537A3BC21}" type="parTrans" cxnId="{41A7473E-0FAD-4341-A72C-25CA87F1ADE8}">
      <dgm:prSet/>
      <dgm:spPr/>
      <dgm:t>
        <a:bodyPr/>
        <a:lstStyle/>
        <a:p>
          <a:endParaRPr lang="nl-NL" sz="1000"/>
        </a:p>
      </dgm:t>
    </dgm:pt>
    <dgm:pt modelId="{9F4A5B04-0051-4F5D-9849-79FF15B78EF0}" type="sibTrans" cxnId="{41A7473E-0FAD-4341-A72C-25CA87F1ADE8}">
      <dgm:prSet/>
      <dgm:spPr/>
      <dgm:t>
        <a:bodyPr/>
        <a:lstStyle/>
        <a:p>
          <a:endParaRPr lang="nl-NL" sz="1000"/>
        </a:p>
      </dgm:t>
    </dgm:pt>
    <dgm:pt modelId="{1F00858C-756E-438F-ACFC-655C02058CEA}">
      <dgm:prSet custT="1"/>
      <dgm:spPr/>
      <dgm:t>
        <a:bodyPr/>
        <a:lstStyle/>
        <a:p>
          <a:r>
            <a:rPr lang="nl-NL" sz="900"/>
            <a:t>(Inning Eigen Bijdrage)</a:t>
          </a:r>
        </a:p>
      </dgm:t>
    </dgm:pt>
    <dgm:pt modelId="{3C5879BC-6281-4669-8BEF-2E0C6AD6F405}" type="parTrans" cxnId="{C355C560-CE03-445B-A62A-70AC2F8C5F66}">
      <dgm:prSet/>
      <dgm:spPr/>
      <dgm:t>
        <a:bodyPr/>
        <a:lstStyle/>
        <a:p>
          <a:endParaRPr lang="nl-NL" sz="1000"/>
        </a:p>
      </dgm:t>
    </dgm:pt>
    <dgm:pt modelId="{E87351C3-C3F4-4BF9-BC9D-FD82FB04DFC6}" type="sibTrans" cxnId="{C355C560-CE03-445B-A62A-70AC2F8C5F66}">
      <dgm:prSet/>
      <dgm:spPr/>
      <dgm:t>
        <a:bodyPr/>
        <a:lstStyle/>
        <a:p>
          <a:endParaRPr lang="nl-NL" sz="1000"/>
        </a:p>
      </dgm:t>
    </dgm:pt>
    <dgm:pt modelId="{2B87F55F-3DDA-4DB8-85DC-69C630658C4A}">
      <dgm:prSet custT="1"/>
      <dgm:spPr/>
      <dgm:t>
        <a:bodyPr/>
        <a:lstStyle/>
        <a:p>
          <a:endParaRPr lang="nl-NL" sz="900" dirty="0"/>
        </a:p>
      </dgm:t>
    </dgm:pt>
    <dgm:pt modelId="{E458CF27-D025-4F7B-B018-63E3837B169F}" type="parTrans" cxnId="{2E6CD061-5211-49EC-9292-53AC3A9AD1E4}">
      <dgm:prSet/>
      <dgm:spPr/>
      <dgm:t>
        <a:bodyPr/>
        <a:lstStyle/>
        <a:p>
          <a:endParaRPr lang="nl-NL" sz="1000"/>
        </a:p>
      </dgm:t>
    </dgm:pt>
    <dgm:pt modelId="{DE6A453F-2629-4B65-903F-D41D3D5F3A92}" type="sibTrans" cxnId="{2E6CD061-5211-49EC-9292-53AC3A9AD1E4}">
      <dgm:prSet/>
      <dgm:spPr/>
      <dgm:t>
        <a:bodyPr/>
        <a:lstStyle/>
        <a:p>
          <a:endParaRPr lang="nl-NL" sz="1000"/>
        </a:p>
      </dgm:t>
    </dgm:pt>
    <dgm:pt modelId="{23193460-2B00-4BBA-B2EF-55CC2B44251D}">
      <dgm:prSet custT="1"/>
      <dgm:spPr>
        <a:solidFill>
          <a:srgbClr val="C00000"/>
        </a:solidFill>
        <a:ln>
          <a:solidFill>
            <a:schemeClr val="bg1"/>
          </a:solidFill>
        </a:ln>
      </dgm:spPr>
      <dgm:t>
        <a:bodyPr/>
        <a:lstStyle/>
        <a:p>
          <a:r>
            <a:rPr lang="nl-NL" sz="1000">
              <a:solidFill>
                <a:schemeClr val="bg1"/>
              </a:solidFill>
            </a:rPr>
            <a:t>Infrastructuur</a:t>
          </a:r>
        </a:p>
      </dgm:t>
    </dgm:pt>
    <dgm:pt modelId="{9039EAD3-CDDB-4CC8-A3AF-7A425DFF7FAF}" type="parTrans" cxnId="{9B937BAE-08F9-42AE-AC98-6AD3DC9FA8CB}">
      <dgm:prSet/>
      <dgm:spPr/>
      <dgm:t>
        <a:bodyPr/>
        <a:lstStyle/>
        <a:p>
          <a:endParaRPr lang="nl-NL" sz="1000"/>
        </a:p>
      </dgm:t>
    </dgm:pt>
    <dgm:pt modelId="{B40E2452-A66F-4500-9BFD-26EFE8F1C46C}" type="sibTrans" cxnId="{9B937BAE-08F9-42AE-AC98-6AD3DC9FA8CB}">
      <dgm:prSet/>
      <dgm:spPr/>
      <dgm:t>
        <a:bodyPr/>
        <a:lstStyle/>
        <a:p>
          <a:endParaRPr lang="nl-NL" sz="1000"/>
        </a:p>
      </dgm:t>
    </dgm:pt>
    <dgm:pt modelId="{77057A3B-3645-4900-95DC-090CD2DB9683}">
      <dgm:prSet custT="1"/>
      <dgm:spPr>
        <a:solidFill>
          <a:srgbClr val="C00000"/>
        </a:solidFill>
        <a:ln>
          <a:solidFill>
            <a:schemeClr val="bg1"/>
          </a:solidFill>
        </a:ln>
      </dgm:spPr>
      <dgm:t>
        <a:bodyPr/>
        <a:lstStyle/>
        <a:p>
          <a:r>
            <a:rPr lang="nl-NL" sz="900" dirty="0" smtClean="0">
              <a:solidFill>
                <a:schemeClr val="bg1"/>
              </a:solidFill>
            </a:rPr>
            <a:t>Moderne werkomgeving</a:t>
          </a:r>
          <a:endParaRPr lang="nl-NL" sz="900" dirty="0">
            <a:solidFill>
              <a:schemeClr val="bg1"/>
            </a:solidFill>
          </a:endParaRPr>
        </a:p>
      </dgm:t>
    </dgm:pt>
    <dgm:pt modelId="{0EC6A81B-C8FD-4EEF-8570-8C98DBB1A73C}" type="parTrans" cxnId="{1F843F8A-097C-4D1E-8BE9-55D51C74877D}">
      <dgm:prSet/>
      <dgm:spPr/>
      <dgm:t>
        <a:bodyPr/>
        <a:lstStyle/>
        <a:p>
          <a:endParaRPr lang="nl-NL" sz="1000"/>
        </a:p>
      </dgm:t>
    </dgm:pt>
    <dgm:pt modelId="{7A3E30EB-3E1C-4BF9-8CCF-CAA3571ACFB7}" type="sibTrans" cxnId="{1F843F8A-097C-4D1E-8BE9-55D51C74877D}">
      <dgm:prSet/>
      <dgm:spPr/>
      <dgm:t>
        <a:bodyPr/>
        <a:lstStyle/>
        <a:p>
          <a:endParaRPr lang="nl-NL" sz="1000"/>
        </a:p>
      </dgm:t>
    </dgm:pt>
    <dgm:pt modelId="{746BBA83-FC51-4B44-8C3D-F93ACED5A830}">
      <dgm:prSet custT="1"/>
      <dgm:spPr/>
      <dgm:t>
        <a:bodyPr/>
        <a:lstStyle/>
        <a:p>
          <a:endParaRPr lang="nl-NL" sz="900" dirty="0"/>
        </a:p>
      </dgm:t>
    </dgm:pt>
    <dgm:pt modelId="{43D31E03-9F7F-4CDB-BA1E-5B60E76E75A0}" type="parTrans" cxnId="{5C8C9688-845D-407B-8262-856083BB8B02}">
      <dgm:prSet/>
      <dgm:spPr/>
      <dgm:t>
        <a:bodyPr/>
        <a:lstStyle/>
        <a:p>
          <a:endParaRPr lang="nl-NL" sz="1000"/>
        </a:p>
      </dgm:t>
    </dgm:pt>
    <dgm:pt modelId="{645A86AD-7CFE-406C-A490-80E89BBD3A4A}" type="sibTrans" cxnId="{5C8C9688-845D-407B-8262-856083BB8B02}">
      <dgm:prSet/>
      <dgm:spPr/>
      <dgm:t>
        <a:bodyPr/>
        <a:lstStyle/>
        <a:p>
          <a:endParaRPr lang="nl-NL" sz="1000"/>
        </a:p>
      </dgm:t>
    </dgm:pt>
    <dgm:pt modelId="{20446483-3131-45C6-9B63-8672E75978B6}">
      <dgm:prSet custT="1"/>
      <dgm:spPr/>
      <dgm:t>
        <a:bodyPr/>
        <a:lstStyle/>
        <a:p>
          <a:r>
            <a:rPr lang="nl-NL" sz="900" dirty="0" smtClean="0"/>
            <a:t>Stelselvernieuwing compleet geïmplementeerd</a:t>
          </a:r>
          <a:endParaRPr lang="nl-NL" sz="900" dirty="0"/>
        </a:p>
      </dgm:t>
    </dgm:pt>
    <dgm:pt modelId="{C592FC82-2CCB-41D1-AB19-C1027B3220DC}" type="parTrans" cxnId="{6AC51181-18CA-4071-8671-E723CB2F83E3}">
      <dgm:prSet/>
      <dgm:spPr/>
      <dgm:t>
        <a:bodyPr/>
        <a:lstStyle/>
        <a:p>
          <a:endParaRPr lang="nl-NL" sz="1000"/>
        </a:p>
      </dgm:t>
    </dgm:pt>
    <dgm:pt modelId="{744972D6-F7F9-4325-9F4B-A70060987F27}" type="sibTrans" cxnId="{6AC51181-18CA-4071-8671-E723CB2F83E3}">
      <dgm:prSet/>
      <dgm:spPr/>
      <dgm:t>
        <a:bodyPr/>
        <a:lstStyle/>
        <a:p>
          <a:endParaRPr lang="nl-NL" sz="1000"/>
        </a:p>
      </dgm:t>
    </dgm:pt>
    <dgm:pt modelId="{6CE1A86C-5E74-4ADB-95CE-83D1024B8A1B}">
      <dgm:prSet custT="1"/>
      <dgm:spPr/>
      <dgm:t>
        <a:bodyPr/>
        <a:lstStyle/>
        <a:p>
          <a:endParaRPr lang="nl-NL" sz="900"/>
        </a:p>
      </dgm:t>
    </dgm:pt>
    <dgm:pt modelId="{E68E1A5A-6E88-458A-8CB9-F2B234C35568}" type="parTrans" cxnId="{20E0196F-EDD9-474A-9FAF-DF8543639C6C}">
      <dgm:prSet/>
      <dgm:spPr/>
      <dgm:t>
        <a:bodyPr/>
        <a:lstStyle/>
        <a:p>
          <a:endParaRPr lang="nl-NL" sz="1000"/>
        </a:p>
      </dgm:t>
    </dgm:pt>
    <dgm:pt modelId="{CCAC4F14-E3B3-4CA3-9BF7-C73D5E00EE32}" type="sibTrans" cxnId="{20E0196F-EDD9-474A-9FAF-DF8543639C6C}">
      <dgm:prSet/>
      <dgm:spPr/>
      <dgm:t>
        <a:bodyPr/>
        <a:lstStyle/>
        <a:p>
          <a:endParaRPr lang="nl-NL" sz="1000"/>
        </a:p>
      </dgm:t>
    </dgm:pt>
    <dgm:pt modelId="{66E39E7D-DC2E-4284-993D-AFD4E5E98986}">
      <dgm:prSet custT="1"/>
      <dgm:spPr/>
      <dgm:t>
        <a:bodyPr/>
        <a:lstStyle/>
        <a:p>
          <a:r>
            <a:rPr lang="nl-NL" sz="900" dirty="0" smtClean="0"/>
            <a:t>Cloudstrategie volledig gerealiseerd</a:t>
          </a:r>
          <a:endParaRPr lang="nl-NL" sz="900" dirty="0"/>
        </a:p>
      </dgm:t>
    </dgm:pt>
    <dgm:pt modelId="{D2917CAC-F82A-46EF-A20B-2F4A2F94E9FF}" type="parTrans" cxnId="{7B088858-B74C-43E2-9BE5-068D5D9E1AEB}">
      <dgm:prSet/>
      <dgm:spPr/>
      <dgm:t>
        <a:bodyPr/>
        <a:lstStyle/>
        <a:p>
          <a:endParaRPr lang="nl-NL" sz="1000"/>
        </a:p>
      </dgm:t>
    </dgm:pt>
    <dgm:pt modelId="{57835AF8-C1FC-4BCA-8913-7836892EA37D}" type="sibTrans" cxnId="{7B088858-B74C-43E2-9BE5-068D5D9E1AEB}">
      <dgm:prSet/>
      <dgm:spPr/>
      <dgm:t>
        <a:bodyPr/>
        <a:lstStyle/>
        <a:p>
          <a:endParaRPr lang="nl-NL" sz="1000"/>
        </a:p>
      </dgm:t>
    </dgm:pt>
    <dgm:pt modelId="{82B4419E-EA02-41F8-8851-D338BCF00BF0}">
      <dgm:prSet custT="1"/>
      <dgm:spPr/>
      <dgm:t>
        <a:bodyPr/>
        <a:lstStyle/>
        <a:p>
          <a:endParaRPr lang="nl-NL" sz="900" dirty="0"/>
        </a:p>
      </dgm:t>
    </dgm:pt>
    <dgm:pt modelId="{7A7B7C56-B4C7-4671-B013-0CA3A660B3FD}" type="parTrans" cxnId="{1E19AF31-A63C-4F46-B482-F715C1BB40D5}">
      <dgm:prSet/>
      <dgm:spPr/>
      <dgm:t>
        <a:bodyPr/>
        <a:lstStyle/>
        <a:p>
          <a:endParaRPr lang="nl-NL" sz="1000"/>
        </a:p>
      </dgm:t>
    </dgm:pt>
    <dgm:pt modelId="{90965BCE-1684-471D-AE9E-22ADC4D55E40}" type="sibTrans" cxnId="{1E19AF31-A63C-4F46-B482-F715C1BB40D5}">
      <dgm:prSet/>
      <dgm:spPr/>
      <dgm:t>
        <a:bodyPr/>
        <a:lstStyle/>
        <a:p>
          <a:endParaRPr lang="nl-NL" sz="1000"/>
        </a:p>
      </dgm:t>
    </dgm:pt>
    <dgm:pt modelId="{151429BB-703C-4837-AEAE-FB6E3DE6D505}">
      <dgm:prSet custT="1"/>
      <dgm:spPr/>
      <dgm:t>
        <a:bodyPr/>
        <a:lstStyle/>
        <a:p>
          <a:r>
            <a:rPr lang="nl-NL" sz="900" dirty="0" smtClean="0"/>
            <a:t>Verdere automatisering doorvoeren in </a:t>
          </a:r>
          <a:r>
            <a:rPr lang="nl-NL" sz="900" dirty="0" err="1" smtClean="0"/>
            <a:t>Filenet</a:t>
          </a:r>
          <a:r>
            <a:rPr lang="nl-NL" sz="900" dirty="0" smtClean="0"/>
            <a:t> en Gras vervanging</a:t>
          </a:r>
          <a:endParaRPr lang="nl-NL" sz="900" dirty="0"/>
        </a:p>
      </dgm:t>
    </dgm:pt>
    <dgm:pt modelId="{CE2A0741-45C2-4BEA-BD64-023BC7622332}" type="parTrans" cxnId="{8F30F11D-E87C-429F-A3B7-14360FA410AD}">
      <dgm:prSet/>
      <dgm:spPr/>
      <dgm:t>
        <a:bodyPr/>
        <a:lstStyle/>
        <a:p>
          <a:endParaRPr lang="nl-NL" sz="1000"/>
        </a:p>
      </dgm:t>
    </dgm:pt>
    <dgm:pt modelId="{31B627E5-D5DC-4932-8CC6-E7930B6676D9}" type="sibTrans" cxnId="{8F30F11D-E87C-429F-A3B7-14360FA410AD}">
      <dgm:prSet/>
      <dgm:spPr/>
      <dgm:t>
        <a:bodyPr/>
        <a:lstStyle/>
        <a:p>
          <a:endParaRPr lang="nl-NL" sz="1000"/>
        </a:p>
      </dgm:t>
    </dgm:pt>
    <dgm:pt modelId="{4E20D29C-B6C9-440B-AFF3-AEF13A3A4C36}">
      <dgm:prSet custT="1"/>
      <dgm:spPr/>
      <dgm:t>
        <a:bodyPr/>
        <a:lstStyle/>
        <a:p>
          <a:r>
            <a:rPr lang="nl-NL" sz="900"/>
            <a:t>Zelfselectie rechtshulppakketten inrichten</a:t>
          </a:r>
        </a:p>
      </dgm:t>
    </dgm:pt>
    <dgm:pt modelId="{0AC3526D-14AD-4864-BC54-CA2EC525943F}" type="parTrans" cxnId="{20329975-211D-4A3A-8C0F-DD54C84AD3BD}">
      <dgm:prSet/>
      <dgm:spPr/>
      <dgm:t>
        <a:bodyPr/>
        <a:lstStyle/>
        <a:p>
          <a:endParaRPr lang="nl-NL" sz="1000"/>
        </a:p>
      </dgm:t>
    </dgm:pt>
    <dgm:pt modelId="{18736C93-2A1D-4F22-8952-5A44ED9B99A1}" type="sibTrans" cxnId="{20329975-211D-4A3A-8C0F-DD54C84AD3BD}">
      <dgm:prSet/>
      <dgm:spPr/>
      <dgm:t>
        <a:bodyPr/>
        <a:lstStyle/>
        <a:p>
          <a:endParaRPr lang="nl-NL" sz="1000"/>
        </a:p>
      </dgm:t>
    </dgm:pt>
    <dgm:pt modelId="{AA8DBEC3-5730-473F-B244-820415D3B97D}">
      <dgm:prSet custT="1"/>
      <dgm:spPr/>
      <dgm:t>
        <a:bodyPr/>
        <a:lstStyle/>
        <a:p>
          <a:r>
            <a:rPr lang="nl-NL" sz="900" dirty="0"/>
            <a:t>Burgerportaal </a:t>
          </a:r>
          <a:r>
            <a:rPr lang="nl-NL" sz="900" dirty="0" smtClean="0"/>
            <a:t>uitbreiden</a:t>
          </a:r>
          <a:endParaRPr lang="nl-NL" sz="900" dirty="0"/>
        </a:p>
      </dgm:t>
    </dgm:pt>
    <dgm:pt modelId="{FF21C5BA-C31C-4EE9-8435-9F3E74196BB2}" type="parTrans" cxnId="{A19ED3F0-D3F5-4544-A864-F0CB4CCF69B9}">
      <dgm:prSet/>
      <dgm:spPr/>
      <dgm:t>
        <a:bodyPr/>
        <a:lstStyle/>
        <a:p>
          <a:endParaRPr lang="nl-NL" sz="1000"/>
        </a:p>
      </dgm:t>
    </dgm:pt>
    <dgm:pt modelId="{016D74AE-0885-463A-8830-0E4EE253A780}" type="sibTrans" cxnId="{A19ED3F0-D3F5-4544-A864-F0CB4CCF69B9}">
      <dgm:prSet/>
      <dgm:spPr/>
      <dgm:t>
        <a:bodyPr/>
        <a:lstStyle/>
        <a:p>
          <a:endParaRPr lang="nl-NL" sz="1000"/>
        </a:p>
      </dgm:t>
    </dgm:pt>
    <dgm:pt modelId="{1CEA679C-96CA-460E-AC4E-1582F3BE9109}">
      <dgm:prSet custT="1"/>
      <dgm:spPr>
        <a:solidFill>
          <a:schemeClr val="accent1">
            <a:lumMod val="90000"/>
            <a:alpha val="90000"/>
          </a:schemeClr>
        </a:solidFill>
        <a:ln>
          <a:solidFill>
            <a:schemeClr val="accent1">
              <a:lumMod val="90000"/>
              <a:alpha val="90000"/>
            </a:schemeClr>
          </a:solidFill>
        </a:ln>
      </dgm:spPr>
      <dgm:t>
        <a:bodyPr/>
        <a:lstStyle/>
        <a:p>
          <a:r>
            <a:rPr lang="nl-NL" sz="900" dirty="0"/>
            <a:t>Cloudstrategie </a:t>
          </a:r>
          <a:r>
            <a:rPr lang="nl-NL" sz="900" dirty="0" smtClean="0"/>
            <a:t>vastgesteld</a:t>
          </a:r>
        </a:p>
        <a:p>
          <a:r>
            <a:rPr lang="nl-NL" sz="900" dirty="0" smtClean="0"/>
            <a:t>Applicaties naar de Cloud brengen</a:t>
          </a:r>
          <a:endParaRPr lang="nl-NL" sz="900" dirty="0"/>
        </a:p>
      </dgm:t>
    </dgm:pt>
    <dgm:pt modelId="{142C46B5-687D-479B-9E79-40DA7F5DEF44}" type="parTrans" cxnId="{FF888F5F-DB76-4362-9E36-8483708879BB}">
      <dgm:prSet/>
      <dgm:spPr/>
      <dgm:t>
        <a:bodyPr/>
        <a:lstStyle/>
        <a:p>
          <a:endParaRPr lang="nl-NL" sz="1000"/>
        </a:p>
      </dgm:t>
    </dgm:pt>
    <dgm:pt modelId="{6F495585-C16D-46B3-BD6D-CD5560F9DB86}" type="sibTrans" cxnId="{FF888F5F-DB76-4362-9E36-8483708879BB}">
      <dgm:prSet/>
      <dgm:spPr/>
      <dgm:t>
        <a:bodyPr/>
        <a:lstStyle/>
        <a:p>
          <a:endParaRPr lang="nl-NL" sz="1000"/>
        </a:p>
      </dgm:t>
    </dgm:pt>
    <dgm:pt modelId="{9A17E9D9-E8F2-4A3D-B3C2-0BF77FF6D42E}">
      <dgm:prSet custT="1"/>
      <dgm:spPr/>
      <dgm:t>
        <a:bodyPr/>
        <a:lstStyle/>
        <a:p>
          <a:r>
            <a:rPr lang="nl-NL" sz="900"/>
            <a:t>Applicaties naar de </a:t>
          </a:r>
          <a:r>
            <a:rPr lang="nl-NL" sz="900" err="1"/>
            <a:t>cloud</a:t>
          </a:r>
          <a:r>
            <a:rPr lang="nl-NL" sz="900"/>
            <a:t> brengen</a:t>
          </a:r>
        </a:p>
      </dgm:t>
    </dgm:pt>
    <dgm:pt modelId="{1E3B8620-2598-4AD1-B142-4BF992FCC7D5}" type="parTrans" cxnId="{7BFCD170-6D7A-4815-B43E-FC0D2CF65DDA}">
      <dgm:prSet/>
      <dgm:spPr/>
      <dgm:t>
        <a:bodyPr/>
        <a:lstStyle/>
        <a:p>
          <a:endParaRPr lang="nl-NL" sz="1000"/>
        </a:p>
      </dgm:t>
    </dgm:pt>
    <dgm:pt modelId="{E69B4927-D436-46DC-B02B-BBE2B2FB337F}" type="sibTrans" cxnId="{7BFCD170-6D7A-4815-B43E-FC0D2CF65DDA}">
      <dgm:prSet/>
      <dgm:spPr/>
      <dgm:t>
        <a:bodyPr/>
        <a:lstStyle/>
        <a:p>
          <a:endParaRPr lang="nl-NL" sz="1000"/>
        </a:p>
      </dgm:t>
    </dgm:pt>
    <dgm:pt modelId="{7EDDC5A2-9A6F-4101-B5CB-77EDED0EB09F}">
      <dgm:prSet custT="1"/>
      <dgm:spPr/>
      <dgm:t>
        <a:bodyPr/>
        <a:lstStyle/>
        <a:p>
          <a:r>
            <a:rPr lang="nl-NL" sz="900"/>
            <a:t>Applicaties naar de </a:t>
          </a:r>
          <a:r>
            <a:rPr lang="nl-NL" sz="900" err="1"/>
            <a:t>cloud</a:t>
          </a:r>
          <a:r>
            <a:rPr lang="nl-NL" sz="900"/>
            <a:t> brengen</a:t>
          </a:r>
        </a:p>
      </dgm:t>
    </dgm:pt>
    <dgm:pt modelId="{994A2668-1209-4FF4-84C6-EBEFEE5719F7}" type="parTrans" cxnId="{3C475407-F480-4626-964A-7BA9A53E8463}">
      <dgm:prSet/>
      <dgm:spPr/>
      <dgm:t>
        <a:bodyPr/>
        <a:lstStyle/>
        <a:p>
          <a:endParaRPr lang="nl-NL" sz="1000"/>
        </a:p>
      </dgm:t>
    </dgm:pt>
    <dgm:pt modelId="{6F48EEA3-B2B6-4574-A8AF-5F75DE2E1693}" type="sibTrans" cxnId="{3C475407-F480-4626-964A-7BA9A53E8463}">
      <dgm:prSet/>
      <dgm:spPr/>
      <dgm:t>
        <a:bodyPr/>
        <a:lstStyle/>
        <a:p>
          <a:endParaRPr lang="nl-NL" sz="1000"/>
        </a:p>
      </dgm:t>
    </dgm:pt>
    <dgm:pt modelId="{27A89387-7B3B-4188-A28B-6E38537CFD19}">
      <dgm:prSet custT="1"/>
      <dgm:spPr>
        <a:solidFill>
          <a:schemeClr val="accent1">
            <a:lumMod val="90000"/>
            <a:alpha val="90000"/>
          </a:schemeClr>
        </a:solidFill>
        <a:ln>
          <a:solidFill>
            <a:schemeClr val="accent1">
              <a:lumMod val="90000"/>
              <a:alpha val="90000"/>
            </a:schemeClr>
          </a:solidFill>
        </a:ln>
      </dgm:spPr>
      <dgm:t>
        <a:bodyPr/>
        <a:lstStyle/>
        <a:p>
          <a:r>
            <a:rPr lang="nl-NL" sz="900" dirty="0" smtClean="0"/>
            <a:t>Visie Werkplek van Toekomst en start implementeren incl. MDM en telefonie</a:t>
          </a:r>
          <a:endParaRPr lang="nl-NL" sz="900" dirty="0"/>
        </a:p>
      </dgm:t>
    </dgm:pt>
    <dgm:pt modelId="{3740C790-FB91-4EEF-9193-83BDD7896895}" type="parTrans" cxnId="{0F2B4D9A-D250-4509-8C2D-04C9963529A6}">
      <dgm:prSet/>
      <dgm:spPr/>
      <dgm:t>
        <a:bodyPr/>
        <a:lstStyle/>
        <a:p>
          <a:endParaRPr lang="nl-NL" sz="1000"/>
        </a:p>
      </dgm:t>
    </dgm:pt>
    <dgm:pt modelId="{FCD6D5E8-E559-4B35-8AD2-0764F3E4CB3B}" type="sibTrans" cxnId="{0F2B4D9A-D250-4509-8C2D-04C9963529A6}">
      <dgm:prSet/>
      <dgm:spPr/>
      <dgm:t>
        <a:bodyPr/>
        <a:lstStyle/>
        <a:p>
          <a:endParaRPr lang="nl-NL" sz="1000"/>
        </a:p>
      </dgm:t>
    </dgm:pt>
    <dgm:pt modelId="{6292E6EC-41DE-43DC-8EBD-D60A29E30E3A}">
      <dgm:prSet custT="1"/>
      <dgm:spPr/>
      <dgm:t>
        <a:bodyPr lIns="0"/>
        <a:lstStyle/>
        <a:p>
          <a:pPr>
            <a:spcAft>
              <a:spcPts val="600"/>
            </a:spcAft>
          </a:pPr>
          <a:r>
            <a:rPr lang="nl-NL" sz="900" dirty="0" smtClean="0"/>
            <a:t>Werkplek van de Toekomst implementeren</a:t>
          </a:r>
          <a:endParaRPr lang="nl-NL" sz="900" dirty="0"/>
        </a:p>
      </dgm:t>
    </dgm:pt>
    <dgm:pt modelId="{0E4480AF-2094-4189-98C1-03DE33A39523}" type="parTrans" cxnId="{B35D16C5-CE97-4817-8DCB-A32915EBD9A3}">
      <dgm:prSet/>
      <dgm:spPr/>
      <dgm:t>
        <a:bodyPr/>
        <a:lstStyle/>
        <a:p>
          <a:endParaRPr lang="nl-NL" sz="1000"/>
        </a:p>
      </dgm:t>
    </dgm:pt>
    <dgm:pt modelId="{4E923F6B-0FC9-4D73-B3A0-BF03729328D8}" type="sibTrans" cxnId="{B35D16C5-CE97-4817-8DCB-A32915EBD9A3}">
      <dgm:prSet/>
      <dgm:spPr/>
      <dgm:t>
        <a:bodyPr/>
        <a:lstStyle/>
        <a:p>
          <a:endParaRPr lang="nl-NL" sz="1000"/>
        </a:p>
      </dgm:t>
    </dgm:pt>
    <dgm:pt modelId="{C869D024-6F94-4126-B283-6DC434C89154}">
      <dgm:prSet custT="1"/>
      <dgm:spPr/>
      <dgm:t>
        <a:bodyPr/>
        <a:lstStyle/>
        <a:p>
          <a:r>
            <a:rPr lang="nl-NL" sz="900" dirty="0"/>
            <a:t>Werkplek van de toekomst implementeren</a:t>
          </a:r>
        </a:p>
      </dgm:t>
    </dgm:pt>
    <dgm:pt modelId="{065D051E-7E8B-4B3A-8F40-D8B67EEB97E8}" type="parTrans" cxnId="{7CE56B18-CF79-43BF-AA17-4A5CA53C6967}">
      <dgm:prSet/>
      <dgm:spPr/>
      <dgm:t>
        <a:bodyPr/>
        <a:lstStyle/>
        <a:p>
          <a:endParaRPr lang="nl-NL" sz="1000"/>
        </a:p>
      </dgm:t>
    </dgm:pt>
    <dgm:pt modelId="{16ACF173-BA7E-4685-843F-5588E59D116A}" type="sibTrans" cxnId="{7CE56B18-CF79-43BF-AA17-4A5CA53C6967}">
      <dgm:prSet/>
      <dgm:spPr/>
      <dgm:t>
        <a:bodyPr/>
        <a:lstStyle/>
        <a:p>
          <a:endParaRPr lang="nl-NL" sz="1000"/>
        </a:p>
      </dgm:t>
    </dgm:pt>
    <dgm:pt modelId="{62D61A53-2D9E-484A-A2DF-FA5F8026FDCE}">
      <dgm:prSet custT="1"/>
      <dgm:spPr/>
      <dgm:t>
        <a:bodyPr/>
        <a:lstStyle/>
        <a:p>
          <a:r>
            <a:rPr lang="nl-NL" sz="900"/>
            <a:t>Werkplek van de toekomst implementeren</a:t>
          </a:r>
        </a:p>
      </dgm:t>
    </dgm:pt>
    <dgm:pt modelId="{378F7EAA-89FC-40D8-A78F-65E528C91DC0}" type="parTrans" cxnId="{40D9CC99-76AD-4E8E-A1AC-7A60971EB6FF}">
      <dgm:prSet/>
      <dgm:spPr/>
      <dgm:t>
        <a:bodyPr/>
        <a:lstStyle/>
        <a:p>
          <a:endParaRPr lang="nl-NL" sz="1000"/>
        </a:p>
      </dgm:t>
    </dgm:pt>
    <dgm:pt modelId="{0741CA5F-C53B-4587-A516-C633F65D31E4}" type="sibTrans" cxnId="{40D9CC99-76AD-4E8E-A1AC-7A60971EB6FF}">
      <dgm:prSet/>
      <dgm:spPr/>
      <dgm:t>
        <a:bodyPr/>
        <a:lstStyle/>
        <a:p>
          <a:endParaRPr lang="nl-NL" sz="1000"/>
        </a:p>
      </dgm:t>
    </dgm:pt>
    <dgm:pt modelId="{8835A891-43B3-4F45-A35D-0FEC54C4FA75}">
      <dgm:prSet custT="1"/>
      <dgm:spPr/>
      <dgm:t>
        <a:bodyPr/>
        <a:lstStyle/>
        <a:p>
          <a:r>
            <a:rPr lang="nl-NL" sz="900" dirty="0"/>
            <a:t>Werkplek van de toekomst implementeren</a:t>
          </a:r>
        </a:p>
      </dgm:t>
    </dgm:pt>
    <dgm:pt modelId="{6E2213D1-0573-4675-98DA-0076CF75465F}" type="parTrans" cxnId="{07B7B9FE-65A9-44AC-B2BC-1638D12F3448}">
      <dgm:prSet/>
      <dgm:spPr/>
      <dgm:t>
        <a:bodyPr/>
        <a:lstStyle/>
        <a:p>
          <a:endParaRPr lang="nl-NL" sz="1000"/>
        </a:p>
      </dgm:t>
    </dgm:pt>
    <dgm:pt modelId="{6558BD01-4C77-4722-AF95-E83635287790}" type="sibTrans" cxnId="{07B7B9FE-65A9-44AC-B2BC-1638D12F3448}">
      <dgm:prSet/>
      <dgm:spPr/>
      <dgm:t>
        <a:bodyPr/>
        <a:lstStyle/>
        <a:p>
          <a:endParaRPr lang="nl-NL" sz="1000"/>
        </a:p>
      </dgm:t>
    </dgm:pt>
    <dgm:pt modelId="{7581D410-F95A-4BC6-965F-E7CD04722FA3}">
      <dgm:prSet phldrT="[Tekst]"/>
      <dgm:spPr>
        <a:solidFill>
          <a:srgbClr val="C00000"/>
        </a:solidFill>
      </dgm:spPr>
      <dgm:t>
        <a:bodyPr/>
        <a:lstStyle/>
        <a:p>
          <a:r>
            <a:rPr lang="nl-NL" dirty="0" smtClean="0">
              <a:solidFill>
                <a:schemeClr val="bg1"/>
              </a:solidFill>
            </a:rPr>
            <a:t>Stelsel-vernieuwing</a:t>
          </a:r>
          <a:endParaRPr lang="nl-NL" dirty="0">
            <a:solidFill>
              <a:schemeClr val="bg1"/>
            </a:solidFill>
          </a:endParaRPr>
        </a:p>
      </dgm:t>
    </dgm:pt>
    <dgm:pt modelId="{F13F0DA9-B4D6-4809-A3B1-11CFC15B80B6}" type="parTrans" cxnId="{A51DA808-DC88-4F58-94F9-0A19E4D1CBCA}">
      <dgm:prSet/>
      <dgm:spPr/>
      <dgm:t>
        <a:bodyPr/>
        <a:lstStyle/>
        <a:p>
          <a:endParaRPr lang="nl-NL"/>
        </a:p>
      </dgm:t>
    </dgm:pt>
    <dgm:pt modelId="{DC088900-12A5-40A7-A2B3-7C8DEE1C4402}" type="sibTrans" cxnId="{A51DA808-DC88-4F58-94F9-0A19E4D1CBCA}">
      <dgm:prSet/>
      <dgm:spPr/>
      <dgm:t>
        <a:bodyPr/>
        <a:lstStyle/>
        <a:p>
          <a:endParaRPr lang="nl-NL"/>
        </a:p>
      </dgm:t>
    </dgm:pt>
    <dgm:pt modelId="{1DE78E1A-287A-4644-911E-2C3E7FDD395B}" type="pres">
      <dgm:prSet presAssocID="{A4C25754-AF2E-445A-B1C4-208C361E3027}" presName="Name0" presStyleCnt="0">
        <dgm:presLayoutVars>
          <dgm:chPref val="3"/>
          <dgm:dir/>
          <dgm:animLvl val="lvl"/>
          <dgm:resizeHandles/>
        </dgm:presLayoutVars>
      </dgm:prSet>
      <dgm:spPr/>
      <dgm:t>
        <a:bodyPr/>
        <a:lstStyle/>
        <a:p>
          <a:endParaRPr lang="nl-NL"/>
        </a:p>
      </dgm:t>
    </dgm:pt>
    <dgm:pt modelId="{1A84AAE2-0808-451B-B00F-51978064A56A}" type="pres">
      <dgm:prSet presAssocID="{647DD7A5-0012-436B-BAB9-BDE52DC25B90}" presName="horFlow" presStyleCnt="0"/>
      <dgm:spPr/>
    </dgm:pt>
    <dgm:pt modelId="{F6E04653-AC57-46CE-A503-3CBBAD1D7D39}" type="pres">
      <dgm:prSet presAssocID="{647DD7A5-0012-436B-BAB9-BDE52DC25B90}" presName="bigChev" presStyleLbl="node1" presStyleIdx="0" presStyleCnt="6" custScaleX="87859"/>
      <dgm:spPr/>
      <dgm:t>
        <a:bodyPr/>
        <a:lstStyle/>
        <a:p>
          <a:endParaRPr lang="nl-NL"/>
        </a:p>
      </dgm:t>
    </dgm:pt>
    <dgm:pt modelId="{2FD405EF-9A12-4113-837F-4235A9C8BCDF}" type="pres">
      <dgm:prSet presAssocID="{583416F9-FBC6-4C82-8614-951CEE12CD70}" presName="parTrans" presStyleCnt="0"/>
      <dgm:spPr/>
    </dgm:pt>
    <dgm:pt modelId="{9E6C8AC0-5D21-43F3-83C4-CC1B7203E690}" type="pres">
      <dgm:prSet presAssocID="{6D8F2393-DBD3-466D-BB9D-AE10062D1E45}" presName="node" presStyleLbl="alignAccFollowNode1" presStyleIdx="0" presStyleCnt="25" custScaleX="119879" custScaleY="120095">
        <dgm:presLayoutVars>
          <dgm:bulletEnabled val="1"/>
        </dgm:presLayoutVars>
      </dgm:prSet>
      <dgm:spPr/>
      <dgm:t>
        <a:bodyPr/>
        <a:lstStyle/>
        <a:p>
          <a:endParaRPr lang="nl-NL"/>
        </a:p>
      </dgm:t>
    </dgm:pt>
    <dgm:pt modelId="{12437B27-DC93-4BD7-BC2C-B48051EB2B27}" type="pres">
      <dgm:prSet presAssocID="{03DE5228-1E63-4C54-9AE4-3B883B2F1DBA}" presName="sibTrans" presStyleCnt="0"/>
      <dgm:spPr/>
    </dgm:pt>
    <dgm:pt modelId="{5F155100-7715-4A17-90EE-690DB2345E60}" type="pres">
      <dgm:prSet presAssocID="{545954EC-4953-467F-8E27-933BAB5A8E05}" presName="node" presStyleLbl="alignAccFollowNode1" presStyleIdx="1" presStyleCnt="25" custScaleX="119879" custScaleY="120096">
        <dgm:presLayoutVars>
          <dgm:bulletEnabled val="1"/>
        </dgm:presLayoutVars>
      </dgm:prSet>
      <dgm:spPr/>
      <dgm:t>
        <a:bodyPr/>
        <a:lstStyle/>
        <a:p>
          <a:endParaRPr lang="nl-NL"/>
        </a:p>
      </dgm:t>
    </dgm:pt>
    <dgm:pt modelId="{556E6604-75C8-47B9-8F4D-7B0C112FFCB2}" type="pres">
      <dgm:prSet presAssocID="{3195B29B-0B9A-47B3-B2F4-4FDC8876F8E7}" presName="sibTrans" presStyleCnt="0"/>
      <dgm:spPr/>
    </dgm:pt>
    <dgm:pt modelId="{7BCA09AF-73D2-4619-A7A7-F58A620080A0}" type="pres">
      <dgm:prSet presAssocID="{0EEE7DE5-2B00-458B-BCAB-CB504BAD12E7}" presName="node" presStyleLbl="alignAccFollowNode1" presStyleIdx="2" presStyleCnt="25" custScaleX="119879" custScaleY="120096">
        <dgm:presLayoutVars>
          <dgm:bulletEnabled val="1"/>
        </dgm:presLayoutVars>
      </dgm:prSet>
      <dgm:spPr/>
      <dgm:t>
        <a:bodyPr/>
        <a:lstStyle/>
        <a:p>
          <a:endParaRPr lang="nl-NL"/>
        </a:p>
      </dgm:t>
    </dgm:pt>
    <dgm:pt modelId="{6993564F-6DB6-4935-B3A0-CE9427733D38}" type="pres">
      <dgm:prSet presAssocID="{9F4A5B04-0051-4F5D-9849-79FF15B78EF0}" presName="sibTrans" presStyleCnt="0"/>
      <dgm:spPr/>
    </dgm:pt>
    <dgm:pt modelId="{6F58A52D-AFF9-49F5-8538-1AB9A54C1571}" type="pres">
      <dgm:prSet presAssocID="{1F00858C-756E-438F-ACFC-655C02058CEA}" presName="node" presStyleLbl="alignAccFollowNode1" presStyleIdx="3" presStyleCnt="25" custScaleX="119879" custScaleY="120096">
        <dgm:presLayoutVars>
          <dgm:bulletEnabled val="1"/>
        </dgm:presLayoutVars>
      </dgm:prSet>
      <dgm:spPr/>
      <dgm:t>
        <a:bodyPr/>
        <a:lstStyle/>
        <a:p>
          <a:endParaRPr lang="nl-NL"/>
        </a:p>
      </dgm:t>
    </dgm:pt>
    <dgm:pt modelId="{26A65A6A-FEA9-4FF4-AB74-E96C5C5FD924}" type="pres">
      <dgm:prSet presAssocID="{E87351C3-C3F4-4BF9-BC9D-FD82FB04DFC6}" presName="sibTrans" presStyleCnt="0"/>
      <dgm:spPr/>
    </dgm:pt>
    <dgm:pt modelId="{9DA68F1C-8A13-4764-9EED-8C5C1AC113E6}" type="pres">
      <dgm:prSet presAssocID="{2B87F55F-3DDA-4DB8-85DC-69C630658C4A}" presName="node" presStyleLbl="alignAccFollowNode1" presStyleIdx="4" presStyleCnt="25" custScaleX="119879" custScaleY="120096">
        <dgm:presLayoutVars>
          <dgm:bulletEnabled val="1"/>
        </dgm:presLayoutVars>
      </dgm:prSet>
      <dgm:spPr/>
      <dgm:t>
        <a:bodyPr/>
        <a:lstStyle/>
        <a:p>
          <a:endParaRPr lang="nl-NL"/>
        </a:p>
      </dgm:t>
    </dgm:pt>
    <dgm:pt modelId="{0D952C92-7C21-4671-AE94-64DCC08CB47C}" type="pres">
      <dgm:prSet presAssocID="{647DD7A5-0012-436B-BAB9-BDE52DC25B90}" presName="vSp" presStyleCnt="0"/>
      <dgm:spPr/>
    </dgm:pt>
    <dgm:pt modelId="{33D37FBD-860E-4E29-93D1-BF1D7D7913AE}" type="pres">
      <dgm:prSet presAssocID="{7581D410-F95A-4BC6-965F-E7CD04722FA3}" presName="horFlow" presStyleCnt="0"/>
      <dgm:spPr/>
    </dgm:pt>
    <dgm:pt modelId="{07F6BDFA-2338-4E2D-916C-4E278D726FDB}" type="pres">
      <dgm:prSet presAssocID="{7581D410-F95A-4BC6-965F-E7CD04722FA3}" presName="bigChev" presStyleLbl="node1" presStyleIdx="1" presStyleCnt="6" custScaleX="84206"/>
      <dgm:spPr/>
      <dgm:t>
        <a:bodyPr/>
        <a:lstStyle/>
        <a:p>
          <a:endParaRPr lang="nl-NL"/>
        </a:p>
      </dgm:t>
    </dgm:pt>
    <dgm:pt modelId="{DFD460F3-1C97-49A7-92FE-E81527E38B55}" type="pres">
      <dgm:prSet presAssocID="{7581D410-F95A-4BC6-965F-E7CD04722FA3}" presName="vSp" presStyleCnt="0"/>
      <dgm:spPr/>
    </dgm:pt>
    <dgm:pt modelId="{FED88096-892B-4EC2-9E54-1AC122C68345}" type="pres">
      <dgm:prSet presAssocID="{22C9BA16-C912-4AB8-B16E-FF797935FE95}" presName="horFlow" presStyleCnt="0"/>
      <dgm:spPr/>
    </dgm:pt>
    <dgm:pt modelId="{45A1425D-2946-43E1-B1EC-77043B192449}" type="pres">
      <dgm:prSet presAssocID="{22C9BA16-C912-4AB8-B16E-FF797935FE95}" presName="bigChev" presStyleLbl="node1" presStyleIdx="2" presStyleCnt="6" custScaleX="84206"/>
      <dgm:spPr/>
      <dgm:t>
        <a:bodyPr/>
        <a:lstStyle/>
        <a:p>
          <a:endParaRPr lang="nl-NL"/>
        </a:p>
      </dgm:t>
    </dgm:pt>
    <dgm:pt modelId="{6EDFC9BE-7488-47C8-9C6B-A9C6D1E82C02}" type="pres">
      <dgm:prSet presAssocID="{7C76C83D-CE5B-4D7C-AD83-B4E39CEEF00A}" presName="parTrans" presStyleCnt="0"/>
      <dgm:spPr/>
    </dgm:pt>
    <dgm:pt modelId="{050DB05E-783F-4CCF-9747-F95A7E32D478}" type="pres">
      <dgm:prSet presAssocID="{17FA8828-52A2-4AF5-B391-AB85135831D1}" presName="node" presStyleLbl="alignAccFollowNode1" presStyleIdx="5" presStyleCnt="25" custScaleX="119879" custScaleY="120095">
        <dgm:presLayoutVars>
          <dgm:bulletEnabled val="1"/>
        </dgm:presLayoutVars>
      </dgm:prSet>
      <dgm:spPr/>
      <dgm:t>
        <a:bodyPr/>
        <a:lstStyle/>
        <a:p>
          <a:endParaRPr lang="nl-NL"/>
        </a:p>
      </dgm:t>
    </dgm:pt>
    <dgm:pt modelId="{3F8234F6-BDB0-48B1-8C45-48C899BF167B}" type="pres">
      <dgm:prSet presAssocID="{5831FBD0-5DF6-4737-9D40-31BD670C5784}" presName="sibTrans" presStyleCnt="0"/>
      <dgm:spPr/>
    </dgm:pt>
    <dgm:pt modelId="{EE523708-1E1B-4AAA-A918-8F0DB46124F9}" type="pres">
      <dgm:prSet presAssocID="{1C057D00-7046-4C92-8845-E659397CD6FE}" presName="node" presStyleLbl="alignAccFollowNode1" presStyleIdx="6" presStyleCnt="25" custScaleX="119879" custScaleY="120096">
        <dgm:presLayoutVars>
          <dgm:bulletEnabled val="1"/>
        </dgm:presLayoutVars>
      </dgm:prSet>
      <dgm:spPr/>
      <dgm:t>
        <a:bodyPr/>
        <a:lstStyle/>
        <a:p>
          <a:endParaRPr lang="nl-NL"/>
        </a:p>
      </dgm:t>
    </dgm:pt>
    <dgm:pt modelId="{394A353D-2412-4CC3-8B67-F3A0F8C998EB}" type="pres">
      <dgm:prSet presAssocID="{9F92A93D-431C-4D58-AC15-E971BD7417E8}" presName="sibTrans" presStyleCnt="0"/>
      <dgm:spPr/>
    </dgm:pt>
    <dgm:pt modelId="{87B307EE-F7E3-478C-99DF-363D7920F82C}" type="pres">
      <dgm:prSet presAssocID="{151429BB-703C-4837-AEAE-FB6E3DE6D505}" presName="node" presStyleLbl="alignAccFollowNode1" presStyleIdx="7" presStyleCnt="25" custScaleX="119879" custScaleY="120096">
        <dgm:presLayoutVars>
          <dgm:bulletEnabled val="1"/>
        </dgm:presLayoutVars>
      </dgm:prSet>
      <dgm:spPr/>
      <dgm:t>
        <a:bodyPr/>
        <a:lstStyle/>
        <a:p>
          <a:endParaRPr lang="nl-NL"/>
        </a:p>
      </dgm:t>
    </dgm:pt>
    <dgm:pt modelId="{1F7177C5-C327-4167-AB92-530115D8A37A}" type="pres">
      <dgm:prSet presAssocID="{31B627E5-D5DC-4932-8CC6-E7930B6676D9}" presName="sibTrans" presStyleCnt="0"/>
      <dgm:spPr/>
    </dgm:pt>
    <dgm:pt modelId="{CED8139D-1618-489C-91A6-6B435D2A051E}" type="pres">
      <dgm:prSet presAssocID="{746BBA83-FC51-4B44-8C3D-F93ACED5A830}" presName="node" presStyleLbl="alignAccFollowNode1" presStyleIdx="8" presStyleCnt="25" custScaleX="119879" custScaleY="120096">
        <dgm:presLayoutVars>
          <dgm:bulletEnabled val="1"/>
        </dgm:presLayoutVars>
      </dgm:prSet>
      <dgm:spPr/>
      <dgm:t>
        <a:bodyPr/>
        <a:lstStyle/>
        <a:p>
          <a:endParaRPr lang="nl-NL"/>
        </a:p>
      </dgm:t>
    </dgm:pt>
    <dgm:pt modelId="{232C0BA6-DDAE-4F0C-A30C-002BE01369D9}" type="pres">
      <dgm:prSet presAssocID="{645A86AD-7CFE-406C-A490-80E89BBD3A4A}" presName="sibTrans" presStyleCnt="0"/>
      <dgm:spPr/>
    </dgm:pt>
    <dgm:pt modelId="{76A59E32-1369-43F3-BA20-12EAEE339E49}" type="pres">
      <dgm:prSet presAssocID="{20446483-3131-45C6-9B63-8672E75978B6}" presName="node" presStyleLbl="alignAccFollowNode1" presStyleIdx="9" presStyleCnt="25" custScaleX="119879" custScaleY="120096" custLinFactY="-36431" custLinFactNeighborX="-18046" custLinFactNeighborY="-100000">
        <dgm:presLayoutVars>
          <dgm:bulletEnabled val="1"/>
        </dgm:presLayoutVars>
      </dgm:prSet>
      <dgm:spPr/>
      <dgm:t>
        <a:bodyPr/>
        <a:lstStyle/>
        <a:p>
          <a:endParaRPr lang="nl-NL"/>
        </a:p>
      </dgm:t>
    </dgm:pt>
    <dgm:pt modelId="{91A9BBBC-E226-44ED-B966-18A36F466E5B}" type="pres">
      <dgm:prSet presAssocID="{22C9BA16-C912-4AB8-B16E-FF797935FE95}" presName="vSp" presStyleCnt="0"/>
      <dgm:spPr/>
    </dgm:pt>
    <dgm:pt modelId="{DAD2B607-B187-469D-B28A-EE687D766071}" type="pres">
      <dgm:prSet presAssocID="{1D0431D3-64B3-4A2A-BC98-318609876B89}" presName="horFlow" presStyleCnt="0"/>
      <dgm:spPr/>
    </dgm:pt>
    <dgm:pt modelId="{AC514612-8832-4B0F-86D0-3200CCE54AE0}" type="pres">
      <dgm:prSet presAssocID="{1D0431D3-64B3-4A2A-BC98-318609876B89}" presName="bigChev" presStyleLbl="node1" presStyleIdx="3" presStyleCnt="6" custScaleX="84206"/>
      <dgm:spPr/>
      <dgm:t>
        <a:bodyPr/>
        <a:lstStyle/>
        <a:p>
          <a:endParaRPr lang="nl-NL"/>
        </a:p>
      </dgm:t>
    </dgm:pt>
    <dgm:pt modelId="{71A396D0-074E-437B-B2EF-A0B34E0BE7F7}" type="pres">
      <dgm:prSet presAssocID="{7BCAD824-9F6C-4E51-8307-99177976A87F}" presName="parTrans" presStyleCnt="0"/>
      <dgm:spPr/>
    </dgm:pt>
    <dgm:pt modelId="{F6BDEFCB-7EF5-4C67-9CC3-C8A5F8837BEC}" type="pres">
      <dgm:prSet presAssocID="{C0C666D5-C6AE-48A4-8BEB-1E0B4423CC7F}" presName="node" presStyleLbl="alignAccFollowNode1" presStyleIdx="10" presStyleCnt="25" custScaleX="119879" custScaleY="120095">
        <dgm:presLayoutVars>
          <dgm:bulletEnabled val="1"/>
        </dgm:presLayoutVars>
      </dgm:prSet>
      <dgm:spPr/>
      <dgm:t>
        <a:bodyPr/>
        <a:lstStyle/>
        <a:p>
          <a:endParaRPr lang="nl-NL"/>
        </a:p>
      </dgm:t>
    </dgm:pt>
    <dgm:pt modelId="{AB380205-9165-48BE-90AF-1D37155F4626}" type="pres">
      <dgm:prSet presAssocID="{DEFB9FE7-85F7-46CA-BCD3-991BFEB6948F}" presName="sibTrans" presStyleCnt="0"/>
      <dgm:spPr/>
    </dgm:pt>
    <dgm:pt modelId="{58186B43-07B2-485C-BAFC-A38A2D2CA252}" type="pres">
      <dgm:prSet presAssocID="{1DD1AC1D-B569-457A-ABD8-ECBDB05C5B6B}" presName="node" presStyleLbl="alignAccFollowNode1" presStyleIdx="11" presStyleCnt="25" custScaleX="119879" custScaleY="120096">
        <dgm:presLayoutVars>
          <dgm:bulletEnabled val="1"/>
        </dgm:presLayoutVars>
      </dgm:prSet>
      <dgm:spPr/>
      <dgm:t>
        <a:bodyPr/>
        <a:lstStyle/>
        <a:p>
          <a:endParaRPr lang="nl-NL"/>
        </a:p>
      </dgm:t>
    </dgm:pt>
    <dgm:pt modelId="{7D78B4A9-2CA2-46A7-9724-90A84F6E3D1B}" type="pres">
      <dgm:prSet presAssocID="{B22F1A8F-FD9D-4176-86A1-F295A23BFA9F}" presName="sibTrans" presStyleCnt="0"/>
      <dgm:spPr/>
    </dgm:pt>
    <dgm:pt modelId="{0147A711-EAE7-444C-88B2-0E0CB88E6274}" type="pres">
      <dgm:prSet presAssocID="{4E20D29C-B6C9-440B-AFF3-AEF13A3A4C36}" presName="node" presStyleLbl="alignAccFollowNode1" presStyleIdx="12" presStyleCnt="25" custScaleX="119879" custScaleY="120096">
        <dgm:presLayoutVars>
          <dgm:bulletEnabled val="1"/>
        </dgm:presLayoutVars>
      </dgm:prSet>
      <dgm:spPr/>
      <dgm:t>
        <a:bodyPr/>
        <a:lstStyle/>
        <a:p>
          <a:endParaRPr lang="nl-NL"/>
        </a:p>
      </dgm:t>
    </dgm:pt>
    <dgm:pt modelId="{83242370-A8A0-49D9-8F01-B0DBCCE9E329}" type="pres">
      <dgm:prSet presAssocID="{18736C93-2A1D-4F22-8952-5A44ED9B99A1}" presName="sibTrans" presStyleCnt="0"/>
      <dgm:spPr/>
    </dgm:pt>
    <dgm:pt modelId="{9FA528D7-26AC-4E04-B14F-E0155359DB2B}" type="pres">
      <dgm:prSet presAssocID="{AA8DBEC3-5730-473F-B244-820415D3B97D}" presName="node" presStyleLbl="alignAccFollowNode1" presStyleIdx="13" presStyleCnt="25" custScaleX="119879" custScaleY="120096">
        <dgm:presLayoutVars>
          <dgm:bulletEnabled val="1"/>
        </dgm:presLayoutVars>
      </dgm:prSet>
      <dgm:spPr/>
      <dgm:t>
        <a:bodyPr/>
        <a:lstStyle/>
        <a:p>
          <a:endParaRPr lang="nl-NL"/>
        </a:p>
      </dgm:t>
    </dgm:pt>
    <dgm:pt modelId="{830719E3-B039-41C3-82E1-9E3518710380}" type="pres">
      <dgm:prSet presAssocID="{016D74AE-0885-463A-8830-0E4EE253A780}" presName="sibTrans" presStyleCnt="0"/>
      <dgm:spPr/>
    </dgm:pt>
    <dgm:pt modelId="{6E216FF8-2780-4ABE-969B-CDD8F6583DDC}" type="pres">
      <dgm:prSet presAssocID="{6CE1A86C-5E74-4ADB-95CE-83D1024B8A1B}" presName="node" presStyleLbl="alignAccFollowNode1" presStyleIdx="14" presStyleCnt="25" custScaleX="119879" custScaleY="120096">
        <dgm:presLayoutVars>
          <dgm:bulletEnabled val="1"/>
        </dgm:presLayoutVars>
      </dgm:prSet>
      <dgm:spPr/>
      <dgm:t>
        <a:bodyPr/>
        <a:lstStyle/>
        <a:p>
          <a:endParaRPr lang="nl-NL"/>
        </a:p>
      </dgm:t>
    </dgm:pt>
    <dgm:pt modelId="{8666EA12-234D-4CB4-8E75-0C81F718C0A9}" type="pres">
      <dgm:prSet presAssocID="{1D0431D3-64B3-4A2A-BC98-318609876B89}" presName="vSp" presStyleCnt="0"/>
      <dgm:spPr/>
    </dgm:pt>
    <dgm:pt modelId="{0D0AE263-B1EA-44DD-9FE2-9CAC606D6FC5}" type="pres">
      <dgm:prSet presAssocID="{23193460-2B00-4BBA-B2EF-55CC2B44251D}" presName="horFlow" presStyleCnt="0"/>
      <dgm:spPr/>
    </dgm:pt>
    <dgm:pt modelId="{01295B02-5629-4790-BB4D-A7650C590746}" type="pres">
      <dgm:prSet presAssocID="{23193460-2B00-4BBA-B2EF-55CC2B44251D}" presName="bigChev" presStyleLbl="node1" presStyleIdx="4" presStyleCnt="6" custScaleX="84206"/>
      <dgm:spPr/>
      <dgm:t>
        <a:bodyPr/>
        <a:lstStyle/>
        <a:p>
          <a:endParaRPr lang="nl-NL"/>
        </a:p>
      </dgm:t>
    </dgm:pt>
    <dgm:pt modelId="{A75BC414-AEA6-434B-B674-287E649E0B5D}" type="pres">
      <dgm:prSet presAssocID="{142C46B5-687D-479B-9E79-40DA7F5DEF44}" presName="parTrans" presStyleCnt="0"/>
      <dgm:spPr/>
    </dgm:pt>
    <dgm:pt modelId="{6EF753EC-17CD-46A6-81D5-6C737C6C4D8F}" type="pres">
      <dgm:prSet presAssocID="{1CEA679C-96CA-460E-AC4E-1582F3BE9109}" presName="node" presStyleLbl="alignAccFollowNode1" presStyleIdx="15" presStyleCnt="25" custScaleX="119879" custScaleY="120095">
        <dgm:presLayoutVars>
          <dgm:bulletEnabled val="1"/>
        </dgm:presLayoutVars>
      </dgm:prSet>
      <dgm:spPr/>
      <dgm:t>
        <a:bodyPr/>
        <a:lstStyle/>
        <a:p>
          <a:endParaRPr lang="nl-NL"/>
        </a:p>
      </dgm:t>
    </dgm:pt>
    <dgm:pt modelId="{F90259C5-94CE-4646-9BBB-9D77BAFCC246}" type="pres">
      <dgm:prSet presAssocID="{6F495585-C16D-46B3-BD6D-CD5560F9DB86}" presName="sibTrans" presStyleCnt="0"/>
      <dgm:spPr/>
    </dgm:pt>
    <dgm:pt modelId="{63D44174-705A-471D-8957-98F128C02313}" type="pres">
      <dgm:prSet presAssocID="{9A17E9D9-E8F2-4A3D-B3C2-0BF77FF6D42E}" presName="node" presStyleLbl="alignAccFollowNode1" presStyleIdx="16" presStyleCnt="25" custScaleX="119879" custScaleY="120096">
        <dgm:presLayoutVars>
          <dgm:bulletEnabled val="1"/>
        </dgm:presLayoutVars>
      </dgm:prSet>
      <dgm:spPr/>
      <dgm:t>
        <a:bodyPr/>
        <a:lstStyle/>
        <a:p>
          <a:endParaRPr lang="nl-NL"/>
        </a:p>
      </dgm:t>
    </dgm:pt>
    <dgm:pt modelId="{F97E5AF9-947E-4CC6-9073-F777788D2625}" type="pres">
      <dgm:prSet presAssocID="{E69B4927-D436-46DC-B02B-BBE2B2FB337F}" presName="sibTrans" presStyleCnt="0"/>
      <dgm:spPr/>
    </dgm:pt>
    <dgm:pt modelId="{A7989C51-1EF4-4500-81D6-6D719DDD68D0}" type="pres">
      <dgm:prSet presAssocID="{7EDDC5A2-9A6F-4101-B5CB-77EDED0EB09F}" presName="node" presStyleLbl="alignAccFollowNode1" presStyleIdx="17" presStyleCnt="25" custScaleX="119879" custScaleY="120096">
        <dgm:presLayoutVars>
          <dgm:bulletEnabled val="1"/>
        </dgm:presLayoutVars>
      </dgm:prSet>
      <dgm:spPr/>
      <dgm:t>
        <a:bodyPr/>
        <a:lstStyle/>
        <a:p>
          <a:endParaRPr lang="nl-NL"/>
        </a:p>
      </dgm:t>
    </dgm:pt>
    <dgm:pt modelId="{49AEC048-1AAE-4592-9445-E9DFA3B4AE30}" type="pres">
      <dgm:prSet presAssocID="{6F48EEA3-B2B6-4574-A8AF-5F75DE2E1693}" presName="sibTrans" presStyleCnt="0"/>
      <dgm:spPr/>
    </dgm:pt>
    <dgm:pt modelId="{A13861A0-3C4D-407A-AD33-595EDBF2F097}" type="pres">
      <dgm:prSet presAssocID="{66E39E7D-DC2E-4284-993D-AFD4E5E98986}" presName="node" presStyleLbl="alignAccFollowNode1" presStyleIdx="18" presStyleCnt="25" custScaleX="119879" custScaleY="120096">
        <dgm:presLayoutVars>
          <dgm:bulletEnabled val="1"/>
        </dgm:presLayoutVars>
      </dgm:prSet>
      <dgm:spPr/>
      <dgm:t>
        <a:bodyPr/>
        <a:lstStyle/>
        <a:p>
          <a:endParaRPr lang="nl-NL"/>
        </a:p>
      </dgm:t>
    </dgm:pt>
    <dgm:pt modelId="{4A81BF62-7FD5-4E20-9909-F9C72ED58289}" type="pres">
      <dgm:prSet presAssocID="{57835AF8-C1FC-4BCA-8913-7836892EA37D}" presName="sibTrans" presStyleCnt="0"/>
      <dgm:spPr/>
    </dgm:pt>
    <dgm:pt modelId="{0EE2C3EC-54D5-48DD-BB5E-1E84B5C6767E}" type="pres">
      <dgm:prSet presAssocID="{82B4419E-EA02-41F8-8851-D338BCF00BF0}" presName="node" presStyleLbl="alignAccFollowNode1" presStyleIdx="19" presStyleCnt="25" custScaleX="119879" custScaleY="120096" custLinFactNeighborX="34487">
        <dgm:presLayoutVars>
          <dgm:bulletEnabled val="1"/>
        </dgm:presLayoutVars>
      </dgm:prSet>
      <dgm:spPr/>
      <dgm:t>
        <a:bodyPr/>
        <a:lstStyle/>
        <a:p>
          <a:endParaRPr lang="nl-NL"/>
        </a:p>
      </dgm:t>
    </dgm:pt>
    <dgm:pt modelId="{DCF6DC2F-5145-4A69-9352-14B4B105CEA7}" type="pres">
      <dgm:prSet presAssocID="{23193460-2B00-4BBA-B2EF-55CC2B44251D}" presName="vSp" presStyleCnt="0"/>
      <dgm:spPr/>
    </dgm:pt>
    <dgm:pt modelId="{B96505B2-8244-4CEC-B020-828904E4E906}" type="pres">
      <dgm:prSet presAssocID="{77057A3B-3645-4900-95DC-090CD2DB9683}" presName="horFlow" presStyleCnt="0"/>
      <dgm:spPr/>
    </dgm:pt>
    <dgm:pt modelId="{369C16FF-CB50-4D98-9172-0EA7B2F7C0E9}" type="pres">
      <dgm:prSet presAssocID="{77057A3B-3645-4900-95DC-090CD2DB9683}" presName="bigChev" presStyleLbl="node1" presStyleIdx="5" presStyleCnt="6" custScaleX="84206"/>
      <dgm:spPr/>
      <dgm:t>
        <a:bodyPr/>
        <a:lstStyle/>
        <a:p>
          <a:endParaRPr lang="nl-NL"/>
        </a:p>
      </dgm:t>
    </dgm:pt>
    <dgm:pt modelId="{C7EE0844-4E45-4E96-9DFA-0A8C0F2C9AA6}" type="pres">
      <dgm:prSet presAssocID="{3740C790-FB91-4EEF-9193-83BDD7896895}" presName="parTrans" presStyleCnt="0"/>
      <dgm:spPr/>
    </dgm:pt>
    <dgm:pt modelId="{F9B40E24-8054-4554-8AF6-D6B681E13EA0}" type="pres">
      <dgm:prSet presAssocID="{27A89387-7B3B-4188-A28B-6E38537CFD19}" presName="node" presStyleLbl="alignAccFollowNode1" presStyleIdx="20" presStyleCnt="25" custScaleX="119879" custScaleY="120095">
        <dgm:presLayoutVars>
          <dgm:bulletEnabled val="1"/>
        </dgm:presLayoutVars>
      </dgm:prSet>
      <dgm:spPr/>
      <dgm:t>
        <a:bodyPr/>
        <a:lstStyle/>
        <a:p>
          <a:endParaRPr lang="nl-NL"/>
        </a:p>
      </dgm:t>
    </dgm:pt>
    <dgm:pt modelId="{C5B67E5E-B363-42E2-80C1-79C2B5650A3A}" type="pres">
      <dgm:prSet presAssocID="{FCD6D5E8-E559-4B35-8AD2-0764F3E4CB3B}" presName="sibTrans" presStyleCnt="0"/>
      <dgm:spPr/>
    </dgm:pt>
    <dgm:pt modelId="{F7823181-D95C-4548-8D31-3B61A998A8F3}" type="pres">
      <dgm:prSet presAssocID="{6292E6EC-41DE-43DC-8EBD-D60A29E30E3A}" presName="node" presStyleLbl="alignAccFollowNode1" presStyleIdx="21" presStyleCnt="25" custScaleX="119879" custScaleY="120096">
        <dgm:presLayoutVars>
          <dgm:bulletEnabled val="1"/>
        </dgm:presLayoutVars>
      </dgm:prSet>
      <dgm:spPr/>
      <dgm:t>
        <a:bodyPr/>
        <a:lstStyle/>
        <a:p>
          <a:endParaRPr lang="nl-NL"/>
        </a:p>
      </dgm:t>
    </dgm:pt>
    <dgm:pt modelId="{AC437654-8085-4057-89E9-126A4BC75DAF}" type="pres">
      <dgm:prSet presAssocID="{4E923F6B-0FC9-4D73-B3A0-BF03729328D8}" presName="sibTrans" presStyleCnt="0"/>
      <dgm:spPr/>
    </dgm:pt>
    <dgm:pt modelId="{54E5B12B-5A5F-4DFD-A255-6C8C32526395}" type="pres">
      <dgm:prSet presAssocID="{C869D024-6F94-4126-B283-6DC434C89154}" presName="node" presStyleLbl="alignAccFollowNode1" presStyleIdx="22" presStyleCnt="25" custScaleX="119879" custScaleY="120096">
        <dgm:presLayoutVars>
          <dgm:bulletEnabled val="1"/>
        </dgm:presLayoutVars>
      </dgm:prSet>
      <dgm:spPr/>
      <dgm:t>
        <a:bodyPr/>
        <a:lstStyle/>
        <a:p>
          <a:endParaRPr lang="nl-NL"/>
        </a:p>
      </dgm:t>
    </dgm:pt>
    <dgm:pt modelId="{DE0F41F1-1B55-44E1-9D5A-189E52E87322}" type="pres">
      <dgm:prSet presAssocID="{16ACF173-BA7E-4685-843F-5588E59D116A}" presName="sibTrans" presStyleCnt="0"/>
      <dgm:spPr/>
    </dgm:pt>
    <dgm:pt modelId="{9D541BD9-D6A2-43C7-B91C-2D697E81376F}" type="pres">
      <dgm:prSet presAssocID="{62D61A53-2D9E-484A-A2DF-FA5F8026FDCE}" presName="node" presStyleLbl="alignAccFollowNode1" presStyleIdx="23" presStyleCnt="25" custScaleX="119879" custScaleY="120096">
        <dgm:presLayoutVars>
          <dgm:bulletEnabled val="1"/>
        </dgm:presLayoutVars>
      </dgm:prSet>
      <dgm:spPr/>
      <dgm:t>
        <a:bodyPr/>
        <a:lstStyle/>
        <a:p>
          <a:endParaRPr lang="nl-NL"/>
        </a:p>
      </dgm:t>
    </dgm:pt>
    <dgm:pt modelId="{603039C6-CA7A-4BF0-B9C3-E55981299194}" type="pres">
      <dgm:prSet presAssocID="{0741CA5F-C53B-4587-A516-C633F65D31E4}" presName="sibTrans" presStyleCnt="0"/>
      <dgm:spPr/>
    </dgm:pt>
    <dgm:pt modelId="{267F98CF-3B0B-4374-BA95-4747FC32EBB6}" type="pres">
      <dgm:prSet presAssocID="{8835A891-43B3-4F45-A35D-0FEC54C4FA75}" presName="node" presStyleLbl="alignAccFollowNode1" presStyleIdx="24" presStyleCnt="25" custScaleX="119879" custScaleY="120096">
        <dgm:presLayoutVars>
          <dgm:bulletEnabled val="1"/>
        </dgm:presLayoutVars>
      </dgm:prSet>
      <dgm:spPr/>
      <dgm:t>
        <a:bodyPr/>
        <a:lstStyle/>
        <a:p>
          <a:endParaRPr lang="nl-NL"/>
        </a:p>
      </dgm:t>
    </dgm:pt>
  </dgm:ptLst>
  <dgm:cxnLst>
    <dgm:cxn modelId="{5C8C9688-845D-407B-8262-856083BB8B02}" srcId="{22C9BA16-C912-4AB8-B16E-FF797935FE95}" destId="{746BBA83-FC51-4B44-8C3D-F93ACED5A830}" srcOrd="3" destOrd="0" parTransId="{43D31E03-9F7F-4CDB-BA1E-5B60E76E75A0}" sibTransId="{645A86AD-7CFE-406C-A490-80E89BBD3A4A}"/>
    <dgm:cxn modelId="{7CE56B18-CF79-43BF-AA17-4A5CA53C6967}" srcId="{77057A3B-3645-4900-95DC-090CD2DB9683}" destId="{C869D024-6F94-4126-B283-6DC434C89154}" srcOrd="2" destOrd="0" parTransId="{065D051E-7E8B-4B3A-8F40-D8B67EEB97E8}" sibTransId="{16ACF173-BA7E-4685-843F-5588E59D116A}"/>
    <dgm:cxn modelId="{1E19AF31-A63C-4F46-B482-F715C1BB40D5}" srcId="{23193460-2B00-4BBA-B2EF-55CC2B44251D}" destId="{82B4419E-EA02-41F8-8851-D338BCF00BF0}" srcOrd="4" destOrd="0" parTransId="{7A7B7C56-B4C7-4671-B013-0CA3A660B3FD}" sibTransId="{90965BCE-1684-471D-AE9E-22ADC4D55E40}"/>
    <dgm:cxn modelId="{C244C082-4F01-4C68-ACB6-0E8FA3198B3E}" srcId="{A4C25754-AF2E-445A-B1C4-208C361E3027}" destId="{22C9BA16-C912-4AB8-B16E-FF797935FE95}" srcOrd="2" destOrd="0" parTransId="{93B98DF1-7871-4E1C-BCA9-B7D1E46536EC}" sibTransId="{92090AD9-6C79-48EC-9401-F0B181673841}"/>
    <dgm:cxn modelId="{BC9DE52F-0BB5-4ACB-9274-779AEBE21803}" srcId="{22C9BA16-C912-4AB8-B16E-FF797935FE95}" destId="{1C057D00-7046-4C92-8845-E659397CD6FE}" srcOrd="1" destOrd="0" parTransId="{5CCF2DFA-AA14-4223-93C4-29A2BEE342FE}" sibTransId="{9F92A93D-431C-4D58-AC15-E971BD7417E8}"/>
    <dgm:cxn modelId="{3BB2DC6F-AEAE-401D-A71C-27E6D32EC4FB}" srcId="{1D0431D3-64B3-4A2A-BC98-318609876B89}" destId="{C0C666D5-C6AE-48A4-8BEB-1E0B4423CC7F}" srcOrd="0" destOrd="0" parTransId="{7BCAD824-9F6C-4E51-8307-99177976A87F}" sibTransId="{DEFB9FE7-85F7-46CA-BCD3-991BFEB6948F}"/>
    <dgm:cxn modelId="{5B51B856-66F6-41DE-82D6-D9DAD4791020}" type="presOf" srcId="{66E39E7D-DC2E-4284-993D-AFD4E5E98986}" destId="{A13861A0-3C4D-407A-AD33-595EDBF2F097}" srcOrd="0" destOrd="0" presId="urn:microsoft.com/office/officeart/2005/8/layout/lProcess3"/>
    <dgm:cxn modelId="{9B937BAE-08F9-42AE-AC98-6AD3DC9FA8CB}" srcId="{A4C25754-AF2E-445A-B1C4-208C361E3027}" destId="{23193460-2B00-4BBA-B2EF-55CC2B44251D}" srcOrd="4" destOrd="0" parTransId="{9039EAD3-CDDB-4CC8-A3AF-7A425DFF7FAF}" sibTransId="{B40E2452-A66F-4500-9BFD-26EFE8F1C46C}"/>
    <dgm:cxn modelId="{C94B2CA1-3476-4E29-8D69-CB27642C1C34}" type="presOf" srcId="{23193460-2B00-4BBA-B2EF-55CC2B44251D}" destId="{01295B02-5629-4790-BB4D-A7650C590746}" srcOrd="0" destOrd="0" presId="urn:microsoft.com/office/officeart/2005/8/layout/lProcess3"/>
    <dgm:cxn modelId="{C12D5F15-CE74-4E56-ADAA-04E1C0542A81}" type="presOf" srcId="{1F00858C-756E-438F-ACFC-655C02058CEA}" destId="{6F58A52D-AFF9-49F5-8538-1AB9A54C1571}" srcOrd="0" destOrd="0" presId="urn:microsoft.com/office/officeart/2005/8/layout/lProcess3"/>
    <dgm:cxn modelId="{404349EA-FCFB-4F3A-A6D3-4DA211175043}" type="presOf" srcId="{4E20D29C-B6C9-440B-AFF3-AEF13A3A4C36}" destId="{0147A711-EAE7-444C-88B2-0E0CB88E6274}" srcOrd="0" destOrd="0" presId="urn:microsoft.com/office/officeart/2005/8/layout/lProcess3"/>
    <dgm:cxn modelId="{24EA6616-E004-4366-BB51-E4E8F832CBD5}" type="presOf" srcId="{27A89387-7B3B-4188-A28B-6E38537CFD19}" destId="{F9B40E24-8054-4554-8AF6-D6B681E13EA0}" srcOrd="0" destOrd="0" presId="urn:microsoft.com/office/officeart/2005/8/layout/lProcess3"/>
    <dgm:cxn modelId="{79901D87-BDE8-49B6-93DD-626CC97FAEC0}" type="presOf" srcId="{62D61A53-2D9E-484A-A2DF-FA5F8026FDCE}" destId="{9D541BD9-D6A2-43C7-B91C-2D697E81376F}" srcOrd="0" destOrd="0" presId="urn:microsoft.com/office/officeart/2005/8/layout/lProcess3"/>
    <dgm:cxn modelId="{1116DFBC-7D5F-4A2B-BE9E-6A035578413B}" type="presOf" srcId="{151429BB-703C-4837-AEAE-FB6E3DE6D505}" destId="{87B307EE-F7E3-478C-99DF-363D7920F82C}" srcOrd="0" destOrd="0" presId="urn:microsoft.com/office/officeart/2005/8/layout/lProcess3"/>
    <dgm:cxn modelId="{8F30F11D-E87C-429F-A3B7-14360FA410AD}" srcId="{22C9BA16-C912-4AB8-B16E-FF797935FE95}" destId="{151429BB-703C-4837-AEAE-FB6E3DE6D505}" srcOrd="2" destOrd="0" parTransId="{CE2A0741-45C2-4BEA-BD64-023BC7622332}" sibTransId="{31B627E5-D5DC-4932-8CC6-E7930B6676D9}"/>
    <dgm:cxn modelId="{F01DEC03-BFD0-4AD0-83CB-AFBAB645346A}" type="presOf" srcId="{6292E6EC-41DE-43DC-8EBD-D60A29E30E3A}" destId="{F7823181-D95C-4548-8D31-3B61A998A8F3}" srcOrd="0" destOrd="0" presId="urn:microsoft.com/office/officeart/2005/8/layout/lProcess3"/>
    <dgm:cxn modelId="{A19ED3F0-D3F5-4544-A864-F0CB4CCF69B9}" srcId="{1D0431D3-64B3-4A2A-BC98-318609876B89}" destId="{AA8DBEC3-5730-473F-B244-820415D3B97D}" srcOrd="3" destOrd="0" parTransId="{FF21C5BA-C31C-4EE9-8435-9F3E74196BB2}" sibTransId="{016D74AE-0885-463A-8830-0E4EE253A780}"/>
    <dgm:cxn modelId="{7B088858-B74C-43E2-9BE5-068D5D9E1AEB}" srcId="{23193460-2B00-4BBA-B2EF-55CC2B44251D}" destId="{66E39E7D-DC2E-4284-993D-AFD4E5E98986}" srcOrd="3" destOrd="0" parTransId="{D2917CAC-F82A-46EF-A20B-2F4A2F94E9FF}" sibTransId="{57835AF8-C1FC-4BCA-8913-7836892EA37D}"/>
    <dgm:cxn modelId="{20329975-211D-4A3A-8C0F-DD54C84AD3BD}" srcId="{1D0431D3-64B3-4A2A-BC98-318609876B89}" destId="{4E20D29C-B6C9-440B-AFF3-AEF13A3A4C36}" srcOrd="2" destOrd="0" parTransId="{0AC3526D-14AD-4864-BC54-CA2EC525943F}" sibTransId="{18736C93-2A1D-4F22-8952-5A44ED9B99A1}"/>
    <dgm:cxn modelId="{03C42A38-BDB9-4D6B-A478-6FFCEEADCCBC}" srcId="{1D0431D3-64B3-4A2A-BC98-318609876B89}" destId="{1DD1AC1D-B569-457A-ABD8-ECBDB05C5B6B}" srcOrd="1" destOrd="0" parTransId="{E1011E1B-B118-4875-B78A-2BFFE230438F}" sibTransId="{B22F1A8F-FD9D-4176-86A1-F295A23BFA9F}"/>
    <dgm:cxn modelId="{5361ADCC-84BD-4993-85CF-74B06F5D06D1}" type="presOf" srcId="{22C9BA16-C912-4AB8-B16E-FF797935FE95}" destId="{45A1425D-2946-43E1-B1EC-77043B192449}" srcOrd="0" destOrd="0" presId="urn:microsoft.com/office/officeart/2005/8/layout/lProcess3"/>
    <dgm:cxn modelId="{07F00F9A-25EB-48AC-9AB9-F7A1B8DE7412}" type="presOf" srcId="{746BBA83-FC51-4B44-8C3D-F93ACED5A830}" destId="{CED8139D-1618-489C-91A6-6B435D2A051E}" srcOrd="0" destOrd="0" presId="urn:microsoft.com/office/officeart/2005/8/layout/lProcess3"/>
    <dgm:cxn modelId="{3404E993-9AF5-4AC8-A850-E56B79A05D44}" type="presOf" srcId="{1CEA679C-96CA-460E-AC4E-1582F3BE9109}" destId="{6EF753EC-17CD-46A6-81D5-6C737C6C4D8F}" srcOrd="0" destOrd="0" presId="urn:microsoft.com/office/officeart/2005/8/layout/lProcess3"/>
    <dgm:cxn modelId="{988CBE00-9744-4A6E-8BD8-86272E3F764E}" type="presOf" srcId="{1D0431D3-64B3-4A2A-BC98-318609876B89}" destId="{AC514612-8832-4B0F-86D0-3200CCE54AE0}" srcOrd="0" destOrd="0" presId="urn:microsoft.com/office/officeart/2005/8/layout/lProcess3"/>
    <dgm:cxn modelId="{41A7473E-0FAD-4341-A72C-25CA87F1ADE8}" srcId="{647DD7A5-0012-436B-BAB9-BDE52DC25B90}" destId="{0EEE7DE5-2B00-458B-BCAB-CB504BAD12E7}" srcOrd="2" destOrd="0" parTransId="{BE541403-E310-4737-9C4F-EFF537A3BC21}" sibTransId="{9F4A5B04-0051-4F5D-9849-79FF15B78EF0}"/>
    <dgm:cxn modelId="{33F43A8A-3CC8-4334-8714-CB475542533B}" type="presOf" srcId="{6CE1A86C-5E74-4ADB-95CE-83D1024B8A1B}" destId="{6E216FF8-2780-4ABE-969B-CDD8F6583DDC}" srcOrd="0" destOrd="0" presId="urn:microsoft.com/office/officeart/2005/8/layout/lProcess3"/>
    <dgm:cxn modelId="{F875A6EA-D09C-4FBB-A92C-73C0BA23DBA0}" type="presOf" srcId="{20446483-3131-45C6-9B63-8672E75978B6}" destId="{76A59E32-1369-43F3-BA20-12EAEE339E49}" srcOrd="0" destOrd="0" presId="urn:microsoft.com/office/officeart/2005/8/layout/lProcess3"/>
    <dgm:cxn modelId="{7BFCD170-6D7A-4815-B43E-FC0D2CF65DDA}" srcId="{23193460-2B00-4BBA-B2EF-55CC2B44251D}" destId="{9A17E9D9-E8F2-4A3D-B3C2-0BF77FF6D42E}" srcOrd="1" destOrd="0" parTransId="{1E3B8620-2598-4AD1-B142-4BF992FCC7D5}" sibTransId="{E69B4927-D436-46DC-B02B-BBE2B2FB337F}"/>
    <dgm:cxn modelId="{FD555119-81B7-423C-9055-58EC56CBFE23}" type="presOf" srcId="{9A17E9D9-E8F2-4A3D-B3C2-0BF77FF6D42E}" destId="{63D44174-705A-471D-8957-98F128C02313}" srcOrd="0" destOrd="0" presId="urn:microsoft.com/office/officeart/2005/8/layout/lProcess3"/>
    <dgm:cxn modelId="{07B7B9FE-65A9-44AC-B2BC-1638D12F3448}" srcId="{77057A3B-3645-4900-95DC-090CD2DB9683}" destId="{8835A891-43B3-4F45-A35D-0FEC54C4FA75}" srcOrd="4" destOrd="0" parTransId="{6E2213D1-0573-4675-98DA-0076CF75465F}" sibTransId="{6558BD01-4C77-4722-AF95-E83635287790}"/>
    <dgm:cxn modelId="{2A2E27CB-E7B7-4EBC-BE45-1A0413F68694}" type="presOf" srcId="{0EEE7DE5-2B00-458B-BCAB-CB504BAD12E7}" destId="{7BCA09AF-73D2-4619-A7A7-F58A620080A0}" srcOrd="0" destOrd="0" presId="urn:microsoft.com/office/officeart/2005/8/layout/lProcess3"/>
    <dgm:cxn modelId="{FF888F5F-DB76-4362-9E36-8483708879BB}" srcId="{23193460-2B00-4BBA-B2EF-55CC2B44251D}" destId="{1CEA679C-96CA-460E-AC4E-1582F3BE9109}" srcOrd="0" destOrd="0" parTransId="{142C46B5-687D-479B-9E79-40DA7F5DEF44}" sibTransId="{6F495585-C16D-46B3-BD6D-CD5560F9DB86}"/>
    <dgm:cxn modelId="{514C613D-60A0-4643-BBC0-BE8471FD5547}" type="presOf" srcId="{A4C25754-AF2E-445A-B1C4-208C361E3027}" destId="{1DE78E1A-287A-4644-911E-2C3E7FDD395B}" srcOrd="0" destOrd="0" presId="urn:microsoft.com/office/officeart/2005/8/layout/lProcess3"/>
    <dgm:cxn modelId="{51AB0B94-82E4-43E9-8949-985CC568556A}" type="presOf" srcId="{C0C666D5-C6AE-48A4-8BEB-1E0B4423CC7F}" destId="{F6BDEFCB-7EF5-4C67-9CC3-C8A5F8837BEC}" srcOrd="0" destOrd="0" presId="urn:microsoft.com/office/officeart/2005/8/layout/lProcess3"/>
    <dgm:cxn modelId="{3F8CF7C8-6210-42A5-8DA3-FA0302C8434A}" srcId="{A4C25754-AF2E-445A-B1C4-208C361E3027}" destId="{647DD7A5-0012-436B-BAB9-BDE52DC25B90}" srcOrd="0" destOrd="0" parTransId="{3AB16B59-D0CB-483E-BCBC-D5B2E737CB7D}" sibTransId="{706A9391-DCC8-4EEB-A18D-BE55B315846C}"/>
    <dgm:cxn modelId="{80260B3B-B79C-46B4-97AA-A804C2A3920E}" srcId="{647DD7A5-0012-436B-BAB9-BDE52DC25B90}" destId="{545954EC-4953-467F-8E27-933BAB5A8E05}" srcOrd="1" destOrd="0" parTransId="{E031E22B-55B8-4FED-A7B2-47054E3D78C2}" sibTransId="{3195B29B-0B9A-47B3-B2F4-4FDC8876F8E7}"/>
    <dgm:cxn modelId="{96666247-BF4C-4E6F-B6E5-3928BD906983}" type="presOf" srcId="{77057A3B-3645-4900-95DC-090CD2DB9683}" destId="{369C16FF-CB50-4D98-9172-0EA7B2F7C0E9}" srcOrd="0" destOrd="0" presId="urn:microsoft.com/office/officeart/2005/8/layout/lProcess3"/>
    <dgm:cxn modelId="{1F843F8A-097C-4D1E-8BE9-55D51C74877D}" srcId="{A4C25754-AF2E-445A-B1C4-208C361E3027}" destId="{77057A3B-3645-4900-95DC-090CD2DB9683}" srcOrd="5" destOrd="0" parTransId="{0EC6A81B-C8FD-4EEF-8570-8C98DBB1A73C}" sibTransId="{7A3E30EB-3E1C-4BF9-8CCF-CAA3571ACFB7}"/>
    <dgm:cxn modelId="{20E0196F-EDD9-474A-9FAF-DF8543639C6C}" srcId="{1D0431D3-64B3-4A2A-BC98-318609876B89}" destId="{6CE1A86C-5E74-4ADB-95CE-83D1024B8A1B}" srcOrd="4" destOrd="0" parTransId="{E68E1A5A-6E88-458A-8CB9-F2B234C35568}" sibTransId="{CCAC4F14-E3B3-4CA3-9BF7-C73D5E00EE32}"/>
    <dgm:cxn modelId="{D65ABC08-8E9F-48FB-9C91-F5256B3DDC67}" srcId="{647DD7A5-0012-436B-BAB9-BDE52DC25B90}" destId="{6D8F2393-DBD3-466D-BB9D-AE10062D1E45}" srcOrd="0" destOrd="0" parTransId="{583416F9-FBC6-4C82-8614-951CEE12CD70}" sibTransId="{03DE5228-1E63-4C54-9AE4-3B883B2F1DBA}"/>
    <dgm:cxn modelId="{ED905CA8-78C4-4B26-B4F3-FBE3111ED1C6}" srcId="{22C9BA16-C912-4AB8-B16E-FF797935FE95}" destId="{17FA8828-52A2-4AF5-B391-AB85135831D1}" srcOrd="0" destOrd="0" parTransId="{7C76C83D-CE5B-4D7C-AD83-B4E39CEEF00A}" sibTransId="{5831FBD0-5DF6-4737-9D40-31BD670C5784}"/>
    <dgm:cxn modelId="{20AAE980-8092-4326-A197-C1C565AB19AA}" type="presOf" srcId="{17FA8828-52A2-4AF5-B391-AB85135831D1}" destId="{050DB05E-783F-4CCF-9747-F95A7E32D478}" srcOrd="0" destOrd="0" presId="urn:microsoft.com/office/officeart/2005/8/layout/lProcess3"/>
    <dgm:cxn modelId="{EC06577F-9572-4923-825E-652125A51976}" type="presOf" srcId="{1DD1AC1D-B569-457A-ABD8-ECBDB05C5B6B}" destId="{58186B43-07B2-485C-BAFC-A38A2D2CA252}" srcOrd="0" destOrd="0" presId="urn:microsoft.com/office/officeart/2005/8/layout/lProcess3"/>
    <dgm:cxn modelId="{CA0D4426-5DC5-4E15-8CD4-69B9B9213E44}" srcId="{A4C25754-AF2E-445A-B1C4-208C361E3027}" destId="{1D0431D3-64B3-4A2A-BC98-318609876B89}" srcOrd="3" destOrd="0" parTransId="{8F056A3C-46EE-4105-96AC-805B07284C64}" sibTransId="{8B27C768-6F47-4415-9EAC-93F37110362D}"/>
    <dgm:cxn modelId="{51E55581-CECD-4AF7-BC46-2293C2202678}" type="presOf" srcId="{AA8DBEC3-5730-473F-B244-820415D3B97D}" destId="{9FA528D7-26AC-4E04-B14F-E0155359DB2B}" srcOrd="0" destOrd="0" presId="urn:microsoft.com/office/officeart/2005/8/layout/lProcess3"/>
    <dgm:cxn modelId="{671CB356-F728-45FA-9613-8893B0EB7710}" type="presOf" srcId="{1C057D00-7046-4C92-8845-E659397CD6FE}" destId="{EE523708-1E1B-4AAA-A918-8F0DB46124F9}" srcOrd="0" destOrd="0" presId="urn:microsoft.com/office/officeart/2005/8/layout/lProcess3"/>
    <dgm:cxn modelId="{2E6CD061-5211-49EC-9292-53AC3A9AD1E4}" srcId="{647DD7A5-0012-436B-BAB9-BDE52DC25B90}" destId="{2B87F55F-3DDA-4DB8-85DC-69C630658C4A}" srcOrd="4" destOrd="0" parTransId="{E458CF27-D025-4F7B-B018-63E3837B169F}" sibTransId="{DE6A453F-2629-4B65-903F-D41D3D5F3A92}"/>
    <dgm:cxn modelId="{6AC51181-18CA-4071-8671-E723CB2F83E3}" srcId="{22C9BA16-C912-4AB8-B16E-FF797935FE95}" destId="{20446483-3131-45C6-9B63-8672E75978B6}" srcOrd="4" destOrd="0" parTransId="{C592FC82-2CCB-41D1-AB19-C1027B3220DC}" sibTransId="{744972D6-F7F9-4325-9F4B-A70060987F27}"/>
    <dgm:cxn modelId="{A51DA808-DC88-4F58-94F9-0A19E4D1CBCA}" srcId="{A4C25754-AF2E-445A-B1C4-208C361E3027}" destId="{7581D410-F95A-4BC6-965F-E7CD04722FA3}" srcOrd="1" destOrd="0" parTransId="{F13F0DA9-B4D6-4809-A3B1-11CFC15B80B6}" sibTransId="{DC088900-12A5-40A7-A2B3-7C8DEE1C4402}"/>
    <dgm:cxn modelId="{40D9CC99-76AD-4E8E-A1AC-7A60971EB6FF}" srcId="{77057A3B-3645-4900-95DC-090CD2DB9683}" destId="{62D61A53-2D9E-484A-A2DF-FA5F8026FDCE}" srcOrd="3" destOrd="0" parTransId="{378F7EAA-89FC-40D8-A78F-65E528C91DC0}" sibTransId="{0741CA5F-C53B-4587-A516-C633F65D31E4}"/>
    <dgm:cxn modelId="{9AEC6FC0-CD11-49B0-9940-4D10A3FE7DFB}" type="presOf" srcId="{7EDDC5A2-9A6F-4101-B5CB-77EDED0EB09F}" destId="{A7989C51-1EF4-4500-81D6-6D719DDD68D0}" srcOrd="0" destOrd="0" presId="urn:microsoft.com/office/officeart/2005/8/layout/lProcess3"/>
    <dgm:cxn modelId="{B35D16C5-CE97-4817-8DCB-A32915EBD9A3}" srcId="{77057A3B-3645-4900-95DC-090CD2DB9683}" destId="{6292E6EC-41DE-43DC-8EBD-D60A29E30E3A}" srcOrd="1" destOrd="0" parTransId="{0E4480AF-2094-4189-98C1-03DE33A39523}" sibTransId="{4E923F6B-0FC9-4D73-B3A0-BF03729328D8}"/>
    <dgm:cxn modelId="{52100F12-BE81-40CD-A68F-E3FA558C44E7}" type="presOf" srcId="{82B4419E-EA02-41F8-8851-D338BCF00BF0}" destId="{0EE2C3EC-54D5-48DD-BB5E-1E84B5C6767E}" srcOrd="0" destOrd="0" presId="urn:microsoft.com/office/officeart/2005/8/layout/lProcess3"/>
    <dgm:cxn modelId="{1229EF09-38DE-4DBC-A8DA-8DE3EE5592E3}" type="presOf" srcId="{6D8F2393-DBD3-466D-BB9D-AE10062D1E45}" destId="{9E6C8AC0-5D21-43F3-83C4-CC1B7203E690}" srcOrd="0" destOrd="0" presId="urn:microsoft.com/office/officeart/2005/8/layout/lProcess3"/>
    <dgm:cxn modelId="{513E01FD-B6A1-47A4-BA13-6B2B22AF080B}" type="presOf" srcId="{C869D024-6F94-4126-B283-6DC434C89154}" destId="{54E5B12B-5A5F-4DFD-A255-6C8C32526395}" srcOrd="0" destOrd="0" presId="urn:microsoft.com/office/officeart/2005/8/layout/lProcess3"/>
    <dgm:cxn modelId="{3C475407-F480-4626-964A-7BA9A53E8463}" srcId="{23193460-2B00-4BBA-B2EF-55CC2B44251D}" destId="{7EDDC5A2-9A6F-4101-B5CB-77EDED0EB09F}" srcOrd="2" destOrd="0" parTransId="{994A2668-1209-4FF4-84C6-EBEFEE5719F7}" sibTransId="{6F48EEA3-B2B6-4574-A8AF-5F75DE2E1693}"/>
    <dgm:cxn modelId="{A06ED7D0-5EC6-4BB4-ABCA-D6158815A588}" type="presOf" srcId="{8835A891-43B3-4F45-A35D-0FEC54C4FA75}" destId="{267F98CF-3B0B-4374-BA95-4747FC32EBB6}" srcOrd="0" destOrd="0" presId="urn:microsoft.com/office/officeart/2005/8/layout/lProcess3"/>
    <dgm:cxn modelId="{0425F08E-D745-4524-BEC2-07ED372F5441}" type="presOf" srcId="{2B87F55F-3DDA-4DB8-85DC-69C630658C4A}" destId="{9DA68F1C-8A13-4764-9EED-8C5C1AC113E6}" srcOrd="0" destOrd="0" presId="urn:microsoft.com/office/officeart/2005/8/layout/lProcess3"/>
    <dgm:cxn modelId="{0123C213-567B-4983-9A19-D21B7B88431D}" type="presOf" srcId="{545954EC-4953-467F-8E27-933BAB5A8E05}" destId="{5F155100-7715-4A17-90EE-690DB2345E60}" srcOrd="0" destOrd="0" presId="urn:microsoft.com/office/officeart/2005/8/layout/lProcess3"/>
    <dgm:cxn modelId="{B70DCA71-04F1-4510-96F6-1B4E26214FA9}" type="presOf" srcId="{7581D410-F95A-4BC6-965F-E7CD04722FA3}" destId="{07F6BDFA-2338-4E2D-916C-4E278D726FDB}" srcOrd="0" destOrd="0" presId="urn:microsoft.com/office/officeart/2005/8/layout/lProcess3"/>
    <dgm:cxn modelId="{17F6472B-5BE6-4D2E-9D5C-06CFDFAC0AA4}" type="presOf" srcId="{647DD7A5-0012-436B-BAB9-BDE52DC25B90}" destId="{F6E04653-AC57-46CE-A503-3CBBAD1D7D39}" srcOrd="0" destOrd="0" presId="urn:microsoft.com/office/officeart/2005/8/layout/lProcess3"/>
    <dgm:cxn modelId="{C355C560-CE03-445B-A62A-70AC2F8C5F66}" srcId="{647DD7A5-0012-436B-BAB9-BDE52DC25B90}" destId="{1F00858C-756E-438F-ACFC-655C02058CEA}" srcOrd="3" destOrd="0" parTransId="{3C5879BC-6281-4669-8BEF-2E0C6AD6F405}" sibTransId="{E87351C3-C3F4-4BF9-BC9D-FD82FB04DFC6}"/>
    <dgm:cxn modelId="{0F2B4D9A-D250-4509-8C2D-04C9963529A6}" srcId="{77057A3B-3645-4900-95DC-090CD2DB9683}" destId="{27A89387-7B3B-4188-A28B-6E38537CFD19}" srcOrd="0" destOrd="0" parTransId="{3740C790-FB91-4EEF-9193-83BDD7896895}" sibTransId="{FCD6D5E8-E559-4B35-8AD2-0764F3E4CB3B}"/>
    <dgm:cxn modelId="{03DFE1E2-F88B-4EEB-A772-5D88591C3F04}" type="presParOf" srcId="{1DE78E1A-287A-4644-911E-2C3E7FDD395B}" destId="{1A84AAE2-0808-451B-B00F-51978064A56A}" srcOrd="0" destOrd="0" presId="urn:microsoft.com/office/officeart/2005/8/layout/lProcess3"/>
    <dgm:cxn modelId="{86D7E632-AAFC-48EB-8068-6819A505285C}" type="presParOf" srcId="{1A84AAE2-0808-451B-B00F-51978064A56A}" destId="{F6E04653-AC57-46CE-A503-3CBBAD1D7D39}" srcOrd="0" destOrd="0" presId="urn:microsoft.com/office/officeart/2005/8/layout/lProcess3"/>
    <dgm:cxn modelId="{B9195C12-F1FA-4333-A756-11F46AF9462E}" type="presParOf" srcId="{1A84AAE2-0808-451B-B00F-51978064A56A}" destId="{2FD405EF-9A12-4113-837F-4235A9C8BCDF}" srcOrd="1" destOrd="0" presId="urn:microsoft.com/office/officeart/2005/8/layout/lProcess3"/>
    <dgm:cxn modelId="{873A17B3-8164-4966-9FE4-8F31D8D3400D}" type="presParOf" srcId="{1A84AAE2-0808-451B-B00F-51978064A56A}" destId="{9E6C8AC0-5D21-43F3-83C4-CC1B7203E690}" srcOrd="2" destOrd="0" presId="urn:microsoft.com/office/officeart/2005/8/layout/lProcess3"/>
    <dgm:cxn modelId="{E2D5FEEB-7454-46B1-8B26-5D089326A5EB}" type="presParOf" srcId="{1A84AAE2-0808-451B-B00F-51978064A56A}" destId="{12437B27-DC93-4BD7-BC2C-B48051EB2B27}" srcOrd="3" destOrd="0" presId="urn:microsoft.com/office/officeart/2005/8/layout/lProcess3"/>
    <dgm:cxn modelId="{36A65702-D9EB-4058-A5E1-C37ADE9DA79E}" type="presParOf" srcId="{1A84AAE2-0808-451B-B00F-51978064A56A}" destId="{5F155100-7715-4A17-90EE-690DB2345E60}" srcOrd="4" destOrd="0" presId="urn:microsoft.com/office/officeart/2005/8/layout/lProcess3"/>
    <dgm:cxn modelId="{272B8057-6A0B-4D91-9B6A-D8A4771593BC}" type="presParOf" srcId="{1A84AAE2-0808-451B-B00F-51978064A56A}" destId="{556E6604-75C8-47B9-8F4D-7B0C112FFCB2}" srcOrd="5" destOrd="0" presId="urn:microsoft.com/office/officeart/2005/8/layout/lProcess3"/>
    <dgm:cxn modelId="{C0704F78-2389-467F-A25B-807B3274C5B5}" type="presParOf" srcId="{1A84AAE2-0808-451B-B00F-51978064A56A}" destId="{7BCA09AF-73D2-4619-A7A7-F58A620080A0}" srcOrd="6" destOrd="0" presId="urn:microsoft.com/office/officeart/2005/8/layout/lProcess3"/>
    <dgm:cxn modelId="{A3703474-2FCD-4696-80A9-199EB8AB4DA3}" type="presParOf" srcId="{1A84AAE2-0808-451B-B00F-51978064A56A}" destId="{6993564F-6DB6-4935-B3A0-CE9427733D38}" srcOrd="7" destOrd="0" presId="urn:microsoft.com/office/officeart/2005/8/layout/lProcess3"/>
    <dgm:cxn modelId="{E72A4589-23AF-4F18-BF76-B4DE4F6EEF14}" type="presParOf" srcId="{1A84AAE2-0808-451B-B00F-51978064A56A}" destId="{6F58A52D-AFF9-49F5-8538-1AB9A54C1571}" srcOrd="8" destOrd="0" presId="urn:microsoft.com/office/officeart/2005/8/layout/lProcess3"/>
    <dgm:cxn modelId="{ED12AC98-406E-4181-B36E-E5DCCA79B2DA}" type="presParOf" srcId="{1A84AAE2-0808-451B-B00F-51978064A56A}" destId="{26A65A6A-FEA9-4FF4-AB74-E96C5C5FD924}" srcOrd="9" destOrd="0" presId="urn:microsoft.com/office/officeart/2005/8/layout/lProcess3"/>
    <dgm:cxn modelId="{3194EB45-0636-4686-9137-AC183D0C0CE3}" type="presParOf" srcId="{1A84AAE2-0808-451B-B00F-51978064A56A}" destId="{9DA68F1C-8A13-4764-9EED-8C5C1AC113E6}" srcOrd="10" destOrd="0" presId="urn:microsoft.com/office/officeart/2005/8/layout/lProcess3"/>
    <dgm:cxn modelId="{DF5CBDB7-2623-46A5-A952-C0DF06C46FF2}" type="presParOf" srcId="{1DE78E1A-287A-4644-911E-2C3E7FDD395B}" destId="{0D952C92-7C21-4671-AE94-64DCC08CB47C}" srcOrd="1" destOrd="0" presId="urn:microsoft.com/office/officeart/2005/8/layout/lProcess3"/>
    <dgm:cxn modelId="{19AB5FFA-6993-4C34-BACA-5391D77125C9}" type="presParOf" srcId="{1DE78E1A-287A-4644-911E-2C3E7FDD395B}" destId="{33D37FBD-860E-4E29-93D1-BF1D7D7913AE}" srcOrd="2" destOrd="0" presId="urn:microsoft.com/office/officeart/2005/8/layout/lProcess3"/>
    <dgm:cxn modelId="{38000E99-E181-4DFA-B7D8-7A2A8E9FE67D}" type="presParOf" srcId="{33D37FBD-860E-4E29-93D1-BF1D7D7913AE}" destId="{07F6BDFA-2338-4E2D-916C-4E278D726FDB}" srcOrd="0" destOrd="0" presId="urn:microsoft.com/office/officeart/2005/8/layout/lProcess3"/>
    <dgm:cxn modelId="{E99AEA86-2E2D-4ECF-96B6-B79FC78998F6}" type="presParOf" srcId="{1DE78E1A-287A-4644-911E-2C3E7FDD395B}" destId="{DFD460F3-1C97-49A7-92FE-E81527E38B55}" srcOrd="3" destOrd="0" presId="urn:microsoft.com/office/officeart/2005/8/layout/lProcess3"/>
    <dgm:cxn modelId="{C838AD49-E1E4-4872-AC9A-B11B83F071F1}" type="presParOf" srcId="{1DE78E1A-287A-4644-911E-2C3E7FDD395B}" destId="{FED88096-892B-4EC2-9E54-1AC122C68345}" srcOrd="4" destOrd="0" presId="urn:microsoft.com/office/officeart/2005/8/layout/lProcess3"/>
    <dgm:cxn modelId="{750C95E6-565B-43DF-8EAB-BB598045D0E9}" type="presParOf" srcId="{FED88096-892B-4EC2-9E54-1AC122C68345}" destId="{45A1425D-2946-43E1-B1EC-77043B192449}" srcOrd="0" destOrd="0" presId="urn:microsoft.com/office/officeart/2005/8/layout/lProcess3"/>
    <dgm:cxn modelId="{CA615CAB-EB8B-4A93-93C9-1FC67FBA607B}" type="presParOf" srcId="{FED88096-892B-4EC2-9E54-1AC122C68345}" destId="{6EDFC9BE-7488-47C8-9C6B-A9C6D1E82C02}" srcOrd="1" destOrd="0" presId="urn:microsoft.com/office/officeart/2005/8/layout/lProcess3"/>
    <dgm:cxn modelId="{5BA53591-4418-4DE6-ADB5-ECAAF47B2303}" type="presParOf" srcId="{FED88096-892B-4EC2-9E54-1AC122C68345}" destId="{050DB05E-783F-4CCF-9747-F95A7E32D478}" srcOrd="2" destOrd="0" presId="urn:microsoft.com/office/officeart/2005/8/layout/lProcess3"/>
    <dgm:cxn modelId="{E09145B5-25C5-4651-ADB2-4B7228A525BE}" type="presParOf" srcId="{FED88096-892B-4EC2-9E54-1AC122C68345}" destId="{3F8234F6-BDB0-48B1-8C45-48C899BF167B}" srcOrd="3" destOrd="0" presId="urn:microsoft.com/office/officeart/2005/8/layout/lProcess3"/>
    <dgm:cxn modelId="{FDDAC889-786C-4595-9C72-F764630E9630}" type="presParOf" srcId="{FED88096-892B-4EC2-9E54-1AC122C68345}" destId="{EE523708-1E1B-4AAA-A918-8F0DB46124F9}" srcOrd="4" destOrd="0" presId="urn:microsoft.com/office/officeart/2005/8/layout/lProcess3"/>
    <dgm:cxn modelId="{0A474BF0-7B53-4D3B-BB46-B3B905DA9B6C}" type="presParOf" srcId="{FED88096-892B-4EC2-9E54-1AC122C68345}" destId="{394A353D-2412-4CC3-8B67-F3A0F8C998EB}" srcOrd="5" destOrd="0" presId="urn:microsoft.com/office/officeart/2005/8/layout/lProcess3"/>
    <dgm:cxn modelId="{96C6BCB3-D62C-4445-89F4-5D967A415F50}" type="presParOf" srcId="{FED88096-892B-4EC2-9E54-1AC122C68345}" destId="{87B307EE-F7E3-478C-99DF-363D7920F82C}" srcOrd="6" destOrd="0" presId="urn:microsoft.com/office/officeart/2005/8/layout/lProcess3"/>
    <dgm:cxn modelId="{017CA1E8-334C-4724-ACA9-B08BA176049F}" type="presParOf" srcId="{FED88096-892B-4EC2-9E54-1AC122C68345}" destId="{1F7177C5-C327-4167-AB92-530115D8A37A}" srcOrd="7" destOrd="0" presId="urn:microsoft.com/office/officeart/2005/8/layout/lProcess3"/>
    <dgm:cxn modelId="{8D9D76B5-1C06-466E-9223-DC965F56770C}" type="presParOf" srcId="{FED88096-892B-4EC2-9E54-1AC122C68345}" destId="{CED8139D-1618-489C-91A6-6B435D2A051E}" srcOrd="8" destOrd="0" presId="urn:microsoft.com/office/officeart/2005/8/layout/lProcess3"/>
    <dgm:cxn modelId="{126F53A2-608D-4627-9E22-307208EB89E0}" type="presParOf" srcId="{FED88096-892B-4EC2-9E54-1AC122C68345}" destId="{232C0BA6-DDAE-4F0C-A30C-002BE01369D9}" srcOrd="9" destOrd="0" presId="urn:microsoft.com/office/officeart/2005/8/layout/lProcess3"/>
    <dgm:cxn modelId="{48279FFF-5572-46B4-AA3B-B05EEABA6BB1}" type="presParOf" srcId="{FED88096-892B-4EC2-9E54-1AC122C68345}" destId="{76A59E32-1369-43F3-BA20-12EAEE339E49}" srcOrd="10" destOrd="0" presId="urn:microsoft.com/office/officeart/2005/8/layout/lProcess3"/>
    <dgm:cxn modelId="{A10D23F7-F880-4CC8-97AB-65A298E5F8E7}" type="presParOf" srcId="{1DE78E1A-287A-4644-911E-2C3E7FDD395B}" destId="{91A9BBBC-E226-44ED-B966-18A36F466E5B}" srcOrd="5" destOrd="0" presId="urn:microsoft.com/office/officeart/2005/8/layout/lProcess3"/>
    <dgm:cxn modelId="{592FA729-8145-4D18-B756-C68F20532742}" type="presParOf" srcId="{1DE78E1A-287A-4644-911E-2C3E7FDD395B}" destId="{DAD2B607-B187-469D-B28A-EE687D766071}" srcOrd="6" destOrd="0" presId="urn:microsoft.com/office/officeart/2005/8/layout/lProcess3"/>
    <dgm:cxn modelId="{10021B57-99D7-452F-AD30-D0758ACD36DA}" type="presParOf" srcId="{DAD2B607-B187-469D-B28A-EE687D766071}" destId="{AC514612-8832-4B0F-86D0-3200CCE54AE0}" srcOrd="0" destOrd="0" presId="urn:microsoft.com/office/officeart/2005/8/layout/lProcess3"/>
    <dgm:cxn modelId="{FB910D25-0CDE-47C2-9B19-082D1319B083}" type="presParOf" srcId="{DAD2B607-B187-469D-B28A-EE687D766071}" destId="{71A396D0-074E-437B-B2EF-A0B34E0BE7F7}" srcOrd="1" destOrd="0" presId="urn:microsoft.com/office/officeart/2005/8/layout/lProcess3"/>
    <dgm:cxn modelId="{A652C5B9-1CCD-407C-8055-2F629BCB8D4B}" type="presParOf" srcId="{DAD2B607-B187-469D-B28A-EE687D766071}" destId="{F6BDEFCB-7EF5-4C67-9CC3-C8A5F8837BEC}" srcOrd="2" destOrd="0" presId="urn:microsoft.com/office/officeart/2005/8/layout/lProcess3"/>
    <dgm:cxn modelId="{F75138C2-7F3B-4A06-A333-2041F85A337D}" type="presParOf" srcId="{DAD2B607-B187-469D-B28A-EE687D766071}" destId="{AB380205-9165-48BE-90AF-1D37155F4626}" srcOrd="3" destOrd="0" presId="urn:microsoft.com/office/officeart/2005/8/layout/lProcess3"/>
    <dgm:cxn modelId="{1A5F15D3-A5A1-4A8C-81B7-C7C280F31E86}" type="presParOf" srcId="{DAD2B607-B187-469D-B28A-EE687D766071}" destId="{58186B43-07B2-485C-BAFC-A38A2D2CA252}" srcOrd="4" destOrd="0" presId="urn:microsoft.com/office/officeart/2005/8/layout/lProcess3"/>
    <dgm:cxn modelId="{84EE89C9-E0E2-4A56-BF61-6CE92D98D1F1}" type="presParOf" srcId="{DAD2B607-B187-469D-B28A-EE687D766071}" destId="{7D78B4A9-2CA2-46A7-9724-90A84F6E3D1B}" srcOrd="5" destOrd="0" presId="urn:microsoft.com/office/officeart/2005/8/layout/lProcess3"/>
    <dgm:cxn modelId="{A3E9765F-3125-46B7-960A-427A60457FD2}" type="presParOf" srcId="{DAD2B607-B187-469D-B28A-EE687D766071}" destId="{0147A711-EAE7-444C-88B2-0E0CB88E6274}" srcOrd="6" destOrd="0" presId="urn:microsoft.com/office/officeart/2005/8/layout/lProcess3"/>
    <dgm:cxn modelId="{5CCCBA00-1852-489B-AF9D-764F6920A961}" type="presParOf" srcId="{DAD2B607-B187-469D-B28A-EE687D766071}" destId="{83242370-A8A0-49D9-8F01-B0DBCCE9E329}" srcOrd="7" destOrd="0" presId="urn:microsoft.com/office/officeart/2005/8/layout/lProcess3"/>
    <dgm:cxn modelId="{408F77B0-5725-4833-A6F1-EEFF94D0785F}" type="presParOf" srcId="{DAD2B607-B187-469D-B28A-EE687D766071}" destId="{9FA528D7-26AC-4E04-B14F-E0155359DB2B}" srcOrd="8" destOrd="0" presId="urn:microsoft.com/office/officeart/2005/8/layout/lProcess3"/>
    <dgm:cxn modelId="{34B7B0BB-AC67-4C22-B383-374F59BFDCC0}" type="presParOf" srcId="{DAD2B607-B187-469D-B28A-EE687D766071}" destId="{830719E3-B039-41C3-82E1-9E3518710380}" srcOrd="9" destOrd="0" presId="urn:microsoft.com/office/officeart/2005/8/layout/lProcess3"/>
    <dgm:cxn modelId="{6A9353A4-2133-49B4-B11B-25B5C1EFD7C6}" type="presParOf" srcId="{DAD2B607-B187-469D-B28A-EE687D766071}" destId="{6E216FF8-2780-4ABE-969B-CDD8F6583DDC}" srcOrd="10" destOrd="0" presId="urn:microsoft.com/office/officeart/2005/8/layout/lProcess3"/>
    <dgm:cxn modelId="{5E115026-1A78-47EC-B3B9-C6FDE6A3F4E8}" type="presParOf" srcId="{1DE78E1A-287A-4644-911E-2C3E7FDD395B}" destId="{8666EA12-234D-4CB4-8E75-0C81F718C0A9}" srcOrd="7" destOrd="0" presId="urn:microsoft.com/office/officeart/2005/8/layout/lProcess3"/>
    <dgm:cxn modelId="{DCA1D852-6117-4736-8EBA-50E6F909EDED}" type="presParOf" srcId="{1DE78E1A-287A-4644-911E-2C3E7FDD395B}" destId="{0D0AE263-B1EA-44DD-9FE2-9CAC606D6FC5}" srcOrd="8" destOrd="0" presId="urn:microsoft.com/office/officeart/2005/8/layout/lProcess3"/>
    <dgm:cxn modelId="{50D7AD5F-9B18-4CF5-9461-59BB5EBFC5EB}" type="presParOf" srcId="{0D0AE263-B1EA-44DD-9FE2-9CAC606D6FC5}" destId="{01295B02-5629-4790-BB4D-A7650C590746}" srcOrd="0" destOrd="0" presId="urn:microsoft.com/office/officeart/2005/8/layout/lProcess3"/>
    <dgm:cxn modelId="{D614DE7C-0F7B-4A82-B391-2177E6EB656A}" type="presParOf" srcId="{0D0AE263-B1EA-44DD-9FE2-9CAC606D6FC5}" destId="{A75BC414-AEA6-434B-B674-287E649E0B5D}" srcOrd="1" destOrd="0" presId="urn:microsoft.com/office/officeart/2005/8/layout/lProcess3"/>
    <dgm:cxn modelId="{08BBBF0A-BC97-4D66-B6A1-6C5384587FBA}" type="presParOf" srcId="{0D0AE263-B1EA-44DD-9FE2-9CAC606D6FC5}" destId="{6EF753EC-17CD-46A6-81D5-6C737C6C4D8F}" srcOrd="2" destOrd="0" presId="urn:microsoft.com/office/officeart/2005/8/layout/lProcess3"/>
    <dgm:cxn modelId="{E7B52315-F888-4FB9-8EAF-5F269D19EDD9}" type="presParOf" srcId="{0D0AE263-B1EA-44DD-9FE2-9CAC606D6FC5}" destId="{F90259C5-94CE-4646-9BBB-9D77BAFCC246}" srcOrd="3" destOrd="0" presId="urn:microsoft.com/office/officeart/2005/8/layout/lProcess3"/>
    <dgm:cxn modelId="{6B494ED2-D653-412A-9B2C-E1A385520822}" type="presParOf" srcId="{0D0AE263-B1EA-44DD-9FE2-9CAC606D6FC5}" destId="{63D44174-705A-471D-8957-98F128C02313}" srcOrd="4" destOrd="0" presId="urn:microsoft.com/office/officeart/2005/8/layout/lProcess3"/>
    <dgm:cxn modelId="{224B64EA-CD0E-4FA3-A85E-1D54DCECD0FD}" type="presParOf" srcId="{0D0AE263-B1EA-44DD-9FE2-9CAC606D6FC5}" destId="{F97E5AF9-947E-4CC6-9073-F777788D2625}" srcOrd="5" destOrd="0" presId="urn:microsoft.com/office/officeart/2005/8/layout/lProcess3"/>
    <dgm:cxn modelId="{EBAD3D41-9233-4304-8413-BA30350E04F8}" type="presParOf" srcId="{0D0AE263-B1EA-44DD-9FE2-9CAC606D6FC5}" destId="{A7989C51-1EF4-4500-81D6-6D719DDD68D0}" srcOrd="6" destOrd="0" presId="urn:microsoft.com/office/officeart/2005/8/layout/lProcess3"/>
    <dgm:cxn modelId="{55322381-A1F4-4096-9562-23DEEC8CFEDE}" type="presParOf" srcId="{0D0AE263-B1EA-44DD-9FE2-9CAC606D6FC5}" destId="{49AEC048-1AAE-4592-9445-E9DFA3B4AE30}" srcOrd="7" destOrd="0" presId="urn:microsoft.com/office/officeart/2005/8/layout/lProcess3"/>
    <dgm:cxn modelId="{514DB903-515B-47F0-AF3F-37CBE505991C}" type="presParOf" srcId="{0D0AE263-B1EA-44DD-9FE2-9CAC606D6FC5}" destId="{A13861A0-3C4D-407A-AD33-595EDBF2F097}" srcOrd="8" destOrd="0" presId="urn:microsoft.com/office/officeart/2005/8/layout/lProcess3"/>
    <dgm:cxn modelId="{E5B4B962-20B0-4FE4-81F2-F884317740DD}" type="presParOf" srcId="{0D0AE263-B1EA-44DD-9FE2-9CAC606D6FC5}" destId="{4A81BF62-7FD5-4E20-9909-F9C72ED58289}" srcOrd="9" destOrd="0" presId="urn:microsoft.com/office/officeart/2005/8/layout/lProcess3"/>
    <dgm:cxn modelId="{CA5657B5-167D-4D10-9C29-4BE85B326F2E}" type="presParOf" srcId="{0D0AE263-B1EA-44DD-9FE2-9CAC606D6FC5}" destId="{0EE2C3EC-54D5-48DD-BB5E-1E84B5C6767E}" srcOrd="10" destOrd="0" presId="urn:microsoft.com/office/officeart/2005/8/layout/lProcess3"/>
    <dgm:cxn modelId="{C9059DE4-524E-4262-BBB3-6DF9611E58F0}" type="presParOf" srcId="{1DE78E1A-287A-4644-911E-2C3E7FDD395B}" destId="{DCF6DC2F-5145-4A69-9352-14B4B105CEA7}" srcOrd="9" destOrd="0" presId="urn:microsoft.com/office/officeart/2005/8/layout/lProcess3"/>
    <dgm:cxn modelId="{F7857194-1AE9-4758-AEBD-9E7B3A5474B8}" type="presParOf" srcId="{1DE78E1A-287A-4644-911E-2C3E7FDD395B}" destId="{B96505B2-8244-4CEC-B020-828904E4E906}" srcOrd="10" destOrd="0" presId="urn:microsoft.com/office/officeart/2005/8/layout/lProcess3"/>
    <dgm:cxn modelId="{DF9F2F89-2C42-485F-8247-D1698F987F36}" type="presParOf" srcId="{B96505B2-8244-4CEC-B020-828904E4E906}" destId="{369C16FF-CB50-4D98-9172-0EA7B2F7C0E9}" srcOrd="0" destOrd="0" presId="urn:microsoft.com/office/officeart/2005/8/layout/lProcess3"/>
    <dgm:cxn modelId="{DE49424A-593C-40FC-BA9F-2874408692CB}" type="presParOf" srcId="{B96505B2-8244-4CEC-B020-828904E4E906}" destId="{C7EE0844-4E45-4E96-9DFA-0A8C0F2C9AA6}" srcOrd="1" destOrd="0" presId="urn:microsoft.com/office/officeart/2005/8/layout/lProcess3"/>
    <dgm:cxn modelId="{01C36C4E-2B8F-4FD6-91EB-5E3E053627E1}" type="presParOf" srcId="{B96505B2-8244-4CEC-B020-828904E4E906}" destId="{F9B40E24-8054-4554-8AF6-D6B681E13EA0}" srcOrd="2" destOrd="0" presId="urn:microsoft.com/office/officeart/2005/8/layout/lProcess3"/>
    <dgm:cxn modelId="{4A11EAFA-E02E-475A-BA17-141D0EF9EE0A}" type="presParOf" srcId="{B96505B2-8244-4CEC-B020-828904E4E906}" destId="{C5B67E5E-B363-42E2-80C1-79C2B5650A3A}" srcOrd="3" destOrd="0" presId="urn:microsoft.com/office/officeart/2005/8/layout/lProcess3"/>
    <dgm:cxn modelId="{596FC311-7E47-44D5-805C-B45E2CF42654}" type="presParOf" srcId="{B96505B2-8244-4CEC-B020-828904E4E906}" destId="{F7823181-D95C-4548-8D31-3B61A998A8F3}" srcOrd="4" destOrd="0" presId="urn:microsoft.com/office/officeart/2005/8/layout/lProcess3"/>
    <dgm:cxn modelId="{33C7CDB5-2F78-4CE4-A69A-BE686111EB9F}" type="presParOf" srcId="{B96505B2-8244-4CEC-B020-828904E4E906}" destId="{AC437654-8085-4057-89E9-126A4BC75DAF}" srcOrd="5" destOrd="0" presId="urn:microsoft.com/office/officeart/2005/8/layout/lProcess3"/>
    <dgm:cxn modelId="{1DC76683-74EC-4263-8B86-EB88A3604628}" type="presParOf" srcId="{B96505B2-8244-4CEC-B020-828904E4E906}" destId="{54E5B12B-5A5F-4DFD-A255-6C8C32526395}" srcOrd="6" destOrd="0" presId="urn:microsoft.com/office/officeart/2005/8/layout/lProcess3"/>
    <dgm:cxn modelId="{B87BFC85-B4BE-430E-9B2A-D52951171164}" type="presParOf" srcId="{B96505B2-8244-4CEC-B020-828904E4E906}" destId="{DE0F41F1-1B55-44E1-9D5A-189E52E87322}" srcOrd="7" destOrd="0" presId="urn:microsoft.com/office/officeart/2005/8/layout/lProcess3"/>
    <dgm:cxn modelId="{75369953-6E9B-4ADD-8257-256B0B061AAB}" type="presParOf" srcId="{B96505B2-8244-4CEC-B020-828904E4E906}" destId="{9D541BD9-D6A2-43C7-B91C-2D697E81376F}" srcOrd="8" destOrd="0" presId="urn:microsoft.com/office/officeart/2005/8/layout/lProcess3"/>
    <dgm:cxn modelId="{8341DEC8-1DCA-483B-A920-E399B635FA8A}" type="presParOf" srcId="{B96505B2-8244-4CEC-B020-828904E4E906}" destId="{603039C6-CA7A-4BF0-B9C3-E55981299194}" srcOrd="9" destOrd="0" presId="urn:microsoft.com/office/officeart/2005/8/layout/lProcess3"/>
    <dgm:cxn modelId="{E75BD234-760B-4A8A-A120-C1675BCE22C4}" type="presParOf" srcId="{B96505B2-8244-4CEC-B020-828904E4E906}" destId="{267F98CF-3B0B-4374-BA95-4747FC32EBB6}" srcOrd="10" destOrd="0" presId="urn:microsoft.com/office/officeart/2005/8/layout/lProcess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4C25754-AF2E-445A-B1C4-208C361E302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647DD7A5-0012-436B-BAB9-BDE52DC25B90}">
      <dgm:prSet phldrT="[Tekst]" custT="1"/>
      <dgm:spPr>
        <a:solidFill>
          <a:srgbClr val="C00000"/>
        </a:solidFill>
      </dgm:spPr>
      <dgm:t>
        <a:bodyPr/>
        <a:lstStyle/>
        <a:p>
          <a:r>
            <a:rPr lang="nl-NL" sz="1000" smtClean="0">
              <a:solidFill>
                <a:schemeClr val="bg1"/>
              </a:solidFill>
            </a:rPr>
            <a:t>Data-allianties</a:t>
          </a:r>
          <a:endParaRPr lang="nl-NL" sz="1000">
            <a:solidFill>
              <a:schemeClr val="bg1"/>
            </a:solidFill>
          </a:endParaRPr>
        </a:p>
      </dgm:t>
    </dgm:pt>
    <dgm:pt modelId="{3AB16B59-D0CB-483E-BCBC-D5B2E737CB7D}" type="parTrans" cxnId="{3F8CF7C8-6210-42A5-8DA3-FA0302C8434A}">
      <dgm:prSet/>
      <dgm:spPr/>
      <dgm:t>
        <a:bodyPr/>
        <a:lstStyle/>
        <a:p>
          <a:endParaRPr lang="nl-NL" sz="1000"/>
        </a:p>
      </dgm:t>
    </dgm:pt>
    <dgm:pt modelId="{706A9391-DCC8-4EEB-A18D-BE55B315846C}" type="sibTrans" cxnId="{3F8CF7C8-6210-42A5-8DA3-FA0302C8434A}">
      <dgm:prSet/>
      <dgm:spPr/>
      <dgm:t>
        <a:bodyPr/>
        <a:lstStyle/>
        <a:p>
          <a:endParaRPr lang="nl-NL" sz="1000"/>
        </a:p>
      </dgm:t>
    </dgm:pt>
    <dgm:pt modelId="{6D8F2393-DBD3-466D-BB9D-AE10062D1E45}">
      <dgm:prSet phldrT="[Tekst]" custT="1"/>
      <dgm:spPr>
        <a:solidFill>
          <a:schemeClr val="accent1">
            <a:lumMod val="90000"/>
          </a:schemeClr>
        </a:solidFill>
        <a:ln>
          <a:solidFill>
            <a:schemeClr val="accent1">
              <a:lumMod val="90000"/>
            </a:schemeClr>
          </a:solidFill>
        </a:ln>
      </dgm:spPr>
      <dgm:t>
        <a:bodyPr/>
        <a:lstStyle/>
        <a:p>
          <a:pPr>
            <a:buFontTx/>
            <a:buNone/>
          </a:pPr>
          <a:r>
            <a:rPr lang="nl-NL" sz="800" dirty="0" smtClean="0"/>
            <a:t>Voorwaarden opstellen data-allianties</a:t>
          </a:r>
        </a:p>
        <a:p>
          <a:pPr>
            <a:buFontTx/>
            <a:buNone/>
          </a:pPr>
          <a:r>
            <a:rPr lang="nl-NL" sz="800" dirty="0" smtClean="0">
              <a:solidFill>
                <a:schemeClr val="tx1"/>
              </a:solidFill>
            </a:rPr>
            <a:t>Datastrategie afspreken met ketenpartners</a:t>
          </a:r>
        </a:p>
        <a:p>
          <a:pPr>
            <a:buFontTx/>
            <a:buNone/>
          </a:pPr>
          <a:r>
            <a:rPr lang="nl-NL" sz="800" dirty="0" smtClean="0">
              <a:solidFill>
                <a:schemeClr val="tx1"/>
              </a:solidFill>
            </a:rPr>
            <a:t>Pilots data-allianties</a:t>
          </a:r>
          <a:endParaRPr lang="nl-NL" sz="800" dirty="0">
            <a:solidFill>
              <a:schemeClr val="tx1"/>
            </a:solidFill>
          </a:endParaRPr>
        </a:p>
      </dgm:t>
    </dgm:pt>
    <dgm:pt modelId="{583416F9-FBC6-4C82-8614-951CEE12CD70}" type="parTrans" cxnId="{D65ABC08-8E9F-48FB-9C91-F5256B3DDC67}">
      <dgm:prSet/>
      <dgm:spPr/>
      <dgm:t>
        <a:bodyPr/>
        <a:lstStyle/>
        <a:p>
          <a:endParaRPr lang="nl-NL" sz="1000"/>
        </a:p>
      </dgm:t>
    </dgm:pt>
    <dgm:pt modelId="{03DE5228-1E63-4C54-9AE4-3B883B2F1DBA}" type="sibTrans" cxnId="{D65ABC08-8E9F-48FB-9C91-F5256B3DDC67}">
      <dgm:prSet/>
      <dgm:spPr/>
      <dgm:t>
        <a:bodyPr/>
        <a:lstStyle/>
        <a:p>
          <a:endParaRPr lang="nl-NL" sz="1000"/>
        </a:p>
      </dgm:t>
    </dgm:pt>
    <dgm:pt modelId="{545954EC-4953-467F-8E27-933BAB5A8E05}">
      <dgm:prSet phldrT="[Tekst]" custT="1"/>
      <dgm:spPr/>
      <dgm:t>
        <a:bodyPr/>
        <a:lstStyle/>
        <a:p>
          <a:pPr>
            <a:spcAft>
              <a:spcPts val="600"/>
            </a:spcAft>
            <a:buFont typeface="+mj-lt"/>
            <a:buNone/>
          </a:pPr>
          <a:r>
            <a:rPr lang="nl-NL" sz="800" dirty="0" smtClean="0"/>
            <a:t>Randvoorwaarden inrichten realisatie data-allianties</a:t>
          </a:r>
        </a:p>
        <a:p>
          <a:pPr>
            <a:spcAft>
              <a:spcPts val="600"/>
            </a:spcAft>
            <a:buFont typeface="+mj-lt"/>
            <a:buNone/>
          </a:pPr>
          <a:r>
            <a:rPr lang="nl-NL" sz="800" dirty="0" smtClean="0"/>
            <a:t>Eerste data-alliantie(s) in werking brengen</a:t>
          </a:r>
          <a:endParaRPr lang="nl-NL" sz="800" dirty="0">
            <a:solidFill>
              <a:schemeClr val="tx1"/>
            </a:solidFill>
          </a:endParaRPr>
        </a:p>
      </dgm:t>
    </dgm:pt>
    <dgm:pt modelId="{E031E22B-55B8-4FED-A7B2-47054E3D78C2}" type="parTrans" cxnId="{80260B3B-B79C-46B4-97AA-A804C2A3920E}">
      <dgm:prSet/>
      <dgm:spPr/>
      <dgm:t>
        <a:bodyPr/>
        <a:lstStyle/>
        <a:p>
          <a:endParaRPr lang="nl-NL" sz="1000"/>
        </a:p>
      </dgm:t>
    </dgm:pt>
    <dgm:pt modelId="{3195B29B-0B9A-47B3-B2F4-4FDC8876F8E7}" type="sibTrans" cxnId="{80260B3B-B79C-46B4-97AA-A804C2A3920E}">
      <dgm:prSet/>
      <dgm:spPr/>
      <dgm:t>
        <a:bodyPr/>
        <a:lstStyle/>
        <a:p>
          <a:endParaRPr lang="nl-NL" sz="1000"/>
        </a:p>
      </dgm:t>
    </dgm:pt>
    <dgm:pt modelId="{22C9BA16-C912-4AB8-B16E-FF797935FE95}">
      <dgm:prSet phldrT="[Tekst]" custT="1"/>
      <dgm:spPr>
        <a:solidFill>
          <a:srgbClr val="C00000"/>
        </a:solidFill>
        <a:ln>
          <a:solidFill>
            <a:schemeClr val="bg1"/>
          </a:solidFill>
        </a:ln>
      </dgm:spPr>
      <dgm:t>
        <a:bodyPr/>
        <a:lstStyle/>
        <a:p>
          <a:r>
            <a:rPr lang="nl-NL" sz="900" dirty="0" smtClean="0">
              <a:solidFill>
                <a:schemeClr val="bg1"/>
              </a:solidFill>
            </a:rPr>
            <a:t>Onbetwistbare data</a:t>
          </a:r>
          <a:endParaRPr lang="nl-NL" sz="900" dirty="0">
            <a:solidFill>
              <a:schemeClr val="bg1"/>
            </a:solidFill>
          </a:endParaRPr>
        </a:p>
      </dgm:t>
    </dgm:pt>
    <dgm:pt modelId="{93B98DF1-7871-4E1C-BCA9-B7D1E46536EC}" type="parTrans" cxnId="{C244C082-4F01-4C68-ACB6-0E8FA3198B3E}">
      <dgm:prSet/>
      <dgm:spPr/>
      <dgm:t>
        <a:bodyPr/>
        <a:lstStyle/>
        <a:p>
          <a:endParaRPr lang="nl-NL" sz="1000"/>
        </a:p>
      </dgm:t>
    </dgm:pt>
    <dgm:pt modelId="{92090AD9-6C79-48EC-9401-F0B181673841}" type="sibTrans" cxnId="{C244C082-4F01-4C68-ACB6-0E8FA3198B3E}">
      <dgm:prSet/>
      <dgm:spPr/>
      <dgm:t>
        <a:bodyPr/>
        <a:lstStyle/>
        <a:p>
          <a:endParaRPr lang="nl-NL" sz="1000"/>
        </a:p>
      </dgm:t>
    </dgm:pt>
    <dgm:pt modelId="{17FA8828-52A2-4AF5-B391-AB85135831D1}">
      <dgm:prSet phldrT="[Tekst]" custT="1"/>
      <dgm:spPr>
        <a:solidFill>
          <a:schemeClr val="accent1">
            <a:lumMod val="90000"/>
          </a:schemeClr>
        </a:solidFill>
        <a:ln>
          <a:solidFill>
            <a:schemeClr val="accent1">
              <a:lumMod val="90000"/>
            </a:schemeClr>
          </a:solidFill>
        </a:ln>
      </dgm:spPr>
      <dgm:t>
        <a:bodyPr/>
        <a:lstStyle/>
        <a:p>
          <a:pPr>
            <a:spcAft>
              <a:spcPts val="600"/>
            </a:spcAft>
            <a:buClrTx/>
            <a:buSzTx/>
            <a:buFont typeface="+mj-lt"/>
            <a:buNone/>
          </a:pPr>
          <a:r>
            <a:rPr lang="nl-NL" sz="800" dirty="0"/>
            <a:t>Kwaliteitscriteria nieuwe data </a:t>
          </a:r>
          <a:r>
            <a:rPr lang="nl-NL" sz="800" dirty="0" smtClean="0"/>
            <a:t>vaststellen</a:t>
          </a:r>
        </a:p>
        <a:p>
          <a:pPr>
            <a:spcAft>
              <a:spcPts val="600"/>
            </a:spcAft>
            <a:buClrTx/>
            <a:buSzTx/>
            <a:buFont typeface="+mj-lt"/>
            <a:buNone/>
          </a:pPr>
          <a:r>
            <a:rPr lang="nl-NL" sz="800" dirty="0" smtClean="0"/>
            <a:t>Zicht </a:t>
          </a:r>
          <a:r>
            <a:rPr lang="nl-NL" sz="800" dirty="0"/>
            <a:t>krijgen op betrouwbaarheid historische data</a:t>
          </a:r>
        </a:p>
      </dgm:t>
    </dgm:pt>
    <dgm:pt modelId="{7C76C83D-CE5B-4D7C-AD83-B4E39CEEF00A}" type="parTrans" cxnId="{ED905CA8-78C4-4B26-B4F3-FBE3111ED1C6}">
      <dgm:prSet/>
      <dgm:spPr/>
      <dgm:t>
        <a:bodyPr/>
        <a:lstStyle/>
        <a:p>
          <a:endParaRPr lang="nl-NL" sz="1000"/>
        </a:p>
      </dgm:t>
    </dgm:pt>
    <dgm:pt modelId="{5831FBD0-5DF6-4737-9D40-31BD670C5784}" type="sibTrans" cxnId="{ED905CA8-78C4-4B26-B4F3-FBE3111ED1C6}">
      <dgm:prSet/>
      <dgm:spPr/>
      <dgm:t>
        <a:bodyPr/>
        <a:lstStyle/>
        <a:p>
          <a:endParaRPr lang="nl-NL" sz="1000"/>
        </a:p>
      </dgm:t>
    </dgm:pt>
    <dgm:pt modelId="{1C057D00-7046-4C92-8845-E659397CD6FE}">
      <dgm:prSet phldrT="[Tekst]" custT="1"/>
      <dgm:spPr/>
      <dgm:t>
        <a:bodyPr/>
        <a:lstStyle/>
        <a:p>
          <a:pPr>
            <a:buFont typeface="+mj-lt"/>
            <a:buNone/>
          </a:pPr>
          <a:r>
            <a:rPr lang="nl-NL" sz="800" dirty="0" smtClean="0"/>
            <a:t>Betrouwbaarheid historische data verbeteren</a:t>
          </a:r>
        </a:p>
        <a:p>
          <a:pPr>
            <a:buFont typeface="+mj-lt"/>
            <a:buNone/>
          </a:pPr>
          <a:r>
            <a:rPr lang="nl-NL" sz="800" dirty="0" smtClean="0">
              <a:solidFill>
                <a:schemeClr val="tx1"/>
              </a:solidFill>
            </a:rPr>
            <a:t>Nieuwe data is volledig (&gt;99%) betrouwbaar</a:t>
          </a:r>
          <a:endParaRPr lang="nl-NL" sz="800" dirty="0">
            <a:solidFill>
              <a:schemeClr val="tx1"/>
            </a:solidFill>
          </a:endParaRPr>
        </a:p>
      </dgm:t>
    </dgm:pt>
    <dgm:pt modelId="{5CCF2DFA-AA14-4223-93C4-29A2BEE342FE}" type="parTrans" cxnId="{BC9DE52F-0BB5-4ACB-9274-779AEBE21803}">
      <dgm:prSet/>
      <dgm:spPr/>
      <dgm:t>
        <a:bodyPr/>
        <a:lstStyle/>
        <a:p>
          <a:endParaRPr lang="nl-NL" sz="1000"/>
        </a:p>
      </dgm:t>
    </dgm:pt>
    <dgm:pt modelId="{9F92A93D-431C-4D58-AC15-E971BD7417E8}" type="sibTrans" cxnId="{BC9DE52F-0BB5-4ACB-9274-779AEBE21803}">
      <dgm:prSet/>
      <dgm:spPr/>
      <dgm:t>
        <a:bodyPr/>
        <a:lstStyle/>
        <a:p>
          <a:endParaRPr lang="nl-NL" sz="1000"/>
        </a:p>
      </dgm:t>
    </dgm:pt>
    <dgm:pt modelId="{1D0431D3-64B3-4A2A-BC98-318609876B89}">
      <dgm:prSet phldrT="[Tekst]" custT="1"/>
      <dgm:spPr>
        <a:solidFill>
          <a:srgbClr val="C00000"/>
        </a:solidFill>
        <a:ln>
          <a:solidFill>
            <a:schemeClr val="bg1"/>
          </a:solidFill>
        </a:ln>
      </dgm:spPr>
      <dgm:t>
        <a:bodyPr/>
        <a:lstStyle/>
        <a:p>
          <a:r>
            <a:rPr lang="nl-NL" sz="1000" smtClean="0">
              <a:solidFill>
                <a:schemeClr val="bg1"/>
              </a:solidFill>
            </a:rPr>
            <a:t>Data warehousing</a:t>
          </a:r>
          <a:endParaRPr lang="nl-NL" sz="1000">
            <a:solidFill>
              <a:schemeClr val="bg1"/>
            </a:solidFill>
          </a:endParaRPr>
        </a:p>
      </dgm:t>
    </dgm:pt>
    <dgm:pt modelId="{8F056A3C-46EE-4105-96AC-805B07284C64}" type="parTrans" cxnId="{CA0D4426-5DC5-4E15-8CD4-69B9B9213E44}">
      <dgm:prSet/>
      <dgm:spPr/>
      <dgm:t>
        <a:bodyPr/>
        <a:lstStyle/>
        <a:p>
          <a:endParaRPr lang="nl-NL" sz="1000"/>
        </a:p>
      </dgm:t>
    </dgm:pt>
    <dgm:pt modelId="{8B27C768-6F47-4415-9EAC-93F37110362D}" type="sibTrans" cxnId="{CA0D4426-5DC5-4E15-8CD4-69B9B9213E44}">
      <dgm:prSet/>
      <dgm:spPr/>
      <dgm:t>
        <a:bodyPr/>
        <a:lstStyle/>
        <a:p>
          <a:endParaRPr lang="nl-NL" sz="1000"/>
        </a:p>
      </dgm:t>
    </dgm:pt>
    <dgm:pt modelId="{C0C666D5-C6AE-48A4-8BEB-1E0B4423CC7F}">
      <dgm:prSet phldrT="[Tekst]" custT="1"/>
      <dgm:spPr>
        <a:solidFill>
          <a:schemeClr val="accent1">
            <a:lumMod val="90000"/>
          </a:schemeClr>
        </a:solidFill>
        <a:ln>
          <a:solidFill>
            <a:schemeClr val="accent1">
              <a:lumMod val="90000"/>
            </a:schemeClr>
          </a:solidFill>
        </a:ln>
      </dgm:spPr>
      <dgm:t>
        <a:bodyPr/>
        <a:lstStyle/>
        <a:p>
          <a:pPr>
            <a:buFont typeface="Arial" panose="020B0604020202020204" pitchFamily="34" charset="0"/>
            <a:buNone/>
          </a:pPr>
          <a:r>
            <a:rPr lang="nl-NL" sz="800" dirty="0"/>
            <a:t>Data-architectuur </a:t>
          </a:r>
          <a:r>
            <a:rPr lang="nl-NL" sz="800" dirty="0" smtClean="0"/>
            <a:t>vaststellen</a:t>
          </a:r>
        </a:p>
        <a:p>
          <a:pPr>
            <a:buFont typeface="Arial" panose="020B0604020202020204" pitchFamily="34" charset="0"/>
            <a:buNone/>
          </a:pPr>
          <a:r>
            <a:rPr lang="nl-NL" sz="800" dirty="0" smtClean="0"/>
            <a:t>Start inrichten Datawarehouse</a:t>
          </a:r>
          <a:endParaRPr lang="nl-NL" sz="800" dirty="0"/>
        </a:p>
      </dgm:t>
    </dgm:pt>
    <dgm:pt modelId="{7BCAD824-9F6C-4E51-8307-99177976A87F}" type="parTrans" cxnId="{3BB2DC6F-AEAE-401D-A71C-27E6D32EC4FB}">
      <dgm:prSet/>
      <dgm:spPr/>
      <dgm:t>
        <a:bodyPr/>
        <a:lstStyle/>
        <a:p>
          <a:endParaRPr lang="nl-NL" sz="1000"/>
        </a:p>
      </dgm:t>
    </dgm:pt>
    <dgm:pt modelId="{DEFB9FE7-85F7-46CA-BCD3-991BFEB6948F}" type="sibTrans" cxnId="{3BB2DC6F-AEAE-401D-A71C-27E6D32EC4FB}">
      <dgm:prSet/>
      <dgm:spPr/>
      <dgm:t>
        <a:bodyPr/>
        <a:lstStyle/>
        <a:p>
          <a:endParaRPr lang="nl-NL" sz="1000"/>
        </a:p>
      </dgm:t>
    </dgm:pt>
    <dgm:pt modelId="{1DD1AC1D-B569-457A-ABD8-ECBDB05C5B6B}">
      <dgm:prSet phldrT="[Tekst]" custT="1"/>
      <dgm:spPr/>
      <dgm:t>
        <a:bodyPr/>
        <a:lstStyle/>
        <a:p>
          <a:pPr>
            <a:spcAft>
              <a:spcPts val="600"/>
            </a:spcAft>
            <a:buClrTx/>
            <a:buSzTx/>
            <a:buFont typeface="Arial" panose="020B0604020202020204" pitchFamily="34" charset="0"/>
            <a:buNone/>
          </a:pPr>
          <a:r>
            <a:rPr lang="nl-NL" sz="800" dirty="0" smtClean="0"/>
            <a:t>Datawarehouse-manager in stelling brengen</a:t>
          </a:r>
        </a:p>
        <a:p>
          <a:pPr>
            <a:spcAft>
              <a:spcPts val="600"/>
            </a:spcAft>
            <a:buClrTx/>
            <a:buSzTx/>
            <a:buFont typeface="Arial" panose="020B0604020202020204" pitchFamily="34" charset="0"/>
            <a:buNone/>
          </a:pPr>
          <a:r>
            <a:rPr lang="nl-NL" sz="800" dirty="0" smtClean="0"/>
            <a:t>Datawarehouse ingericht</a:t>
          </a:r>
          <a:endParaRPr lang="nl-NL" sz="800" dirty="0">
            <a:solidFill>
              <a:srgbClr val="C00000"/>
            </a:solidFill>
          </a:endParaRPr>
        </a:p>
      </dgm:t>
    </dgm:pt>
    <dgm:pt modelId="{E1011E1B-B118-4875-B78A-2BFFE230438F}" type="parTrans" cxnId="{03C42A38-BDB9-4D6B-A478-6FFCEEADCCBC}">
      <dgm:prSet/>
      <dgm:spPr/>
      <dgm:t>
        <a:bodyPr/>
        <a:lstStyle/>
        <a:p>
          <a:endParaRPr lang="nl-NL" sz="1000"/>
        </a:p>
      </dgm:t>
    </dgm:pt>
    <dgm:pt modelId="{B22F1A8F-FD9D-4176-86A1-F295A23BFA9F}" type="sibTrans" cxnId="{03C42A38-BDB9-4D6B-A478-6FFCEEADCCBC}">
      <dgm:prSet/>
      <dgm:spPr/>
      <dgm:t>
        <a:bodyPr/>
        <a:lstStyle/>
        <a:p>
          <a:endParaRPr lang="nl-NL" sz="1000"/>
        </a:p>
      </dgm:t>
    </dgm:pt>
    <dgm:pt modelId="{0EEE7DE5-2B00-458B-BCAB-CB504BAD12E7}">
      <dgm:prSet custT="1"/>
      <dgm:spPr/>
      <dgm:t>
        <a:bodyPr/>
        <a:lstStyle/>
        <a:p>
          <a:endParaRPr lang="nl-NL" sz="900"/>
        </a:p>
      </dgm:t>
    </dgm:pt>
    <dgm:pt modelId="{BE541403-E310-4737-9C4F-EFF537A3BC21}" type="parTrans" cxnId="{41A7473E-0FAD-4341-A72C-25CA87F1ADE8}">
      <dgm:prSet/>
      <dgm:spPr/>
      <dgm:t>
        <a:bodyPr/>
        <a:lstStyle/>
        <a:p>
          <a:endParaRPr lang="nl-NL" sz="1000"/>
        </a:p>
      </dgm:t>
    </dgm:pt>
    <dgm:pt modelId="{9F4A5B04-0051-4F5D-9849-79FF15B78EF0}" type="sibTrans" cxnId="{41A7473E-0FAD-4341-A72C-25CA87F1ADE8}">
      <dgm:prSet/>
      <dgm:spPr/>
      <dgm:t>
        <a:bodyPr/>
        <a:lstStyle/>
        <a:p>
          <a:endParaRPr lang="nl-NL" sz="1000"/>
        </a:p>
      </dgm:t>
    </dgm:pt>
    <dgm:pt modelId="{1F00858C-756E-438F-ACFC-655C02058CEA}">
      <dgm:prSet custT="1"/>
      <dgm:spPr/>
      <dgm:t>
        <a:bodyPr/>
        <a:lstStyle/>
        <a:p>
          <a:r>
            <a:rPr lang="nl-NL" sz="800" dirty="0"/>
            <a:t>Volwassenheid: in staat om flexibel op en af te schalen en aan of af te sluiten</a:t>
          </a:r>
        </a:p>
      </dgm:t>
    </dgm:pt>
    <dgm:pt modelId="{3C5879BC-6281-4669-8BEF-2E0C6AD6F405}" type="parTrans" cxnId="{C355C560-CE03-445B-A62A-70AC2F8C5F66}">
      <dgm:prSet/>
      <dgm:spPr/>
      <dgm:t>
        <a:bodyPr/>
        <a:lstStyle/>
        <a:p>
          <a:endParaRPr lang="nl-NL" sz="1000"/>
        </a:p>
      </dgm:t>
    </dgm:pt>
    <dgm:pt modelId="{E87351C3-C3F4-4BF9-BC9D-FD82FB04DFC6}" type="sibTrans" cxnId="{C355C560-CE03-445B-A62A-70AC2F8C5F66}">
      <dgm:prSet/>
      <dgm:spPr/>
      <dgm:t>
        <a:bodyPr/>
        <a:lstStyle/>
        <a:p>
          <a:endParaRPr lang="nl-NL" sz="1000"/>
        </a:p>
      </dgm:t>
    </dgm:pt>
    <dgm:pt modelId="{2B87F55F-3DDA-4DB8-85DC-69C630658C4A}">
      <dgm:prSet custT="1"/>
      <dgm:spPr/>
      <dgm:t>
        <a:bodyPr/>
        <a:lstStyle/>
        <a:p>
          <a:endParaRPr lang="nl-NL" sz="900"/>
        </a:p>
      </dgm:t>
    </dgm:pt>
    <dgm:pt modelId="{E458CF27-D025-4F7B-B018-63E3837B169F}" type="parTrans" cxnId="{2E6CD061-5211-49EC-9292-53AC3A9AD1E4}">
      <dgm:prSet/>
      <dgm:spPr/>
      <dgm:t>
        <a:bodyPr/>
        <a:lstStyle/>
        <a:p>
          <a:endParaRPr lang="nl-NL" sz="1000"/>
        </a:p>
      </dgm:t>
    </dgm:pt>
    <dgm:pt modelId="{DE6A453F-2629-4B65-903F-D41D3D5F3A92}" type="sibTrans" cxnId="{2E6CD061-5211-49EC-9292-53AC3A9AD1E4}">
      <dgm:prSet/>
      <dgm:spPr/>
      <dgm:t>
        <a:bodyPr/>
        <a:lstStyle/>
        <a:p>
          <a:endParaRPr lang="nl-NL" sz="1000"/>
        </a:p>
      </dgm:t>
    </dgm:pt>
    <dgm:pt modelId="{23193460-2B00-4BBA-B2EF-55CC2B44251D}">
      <dgm:prSet custT="1"/>
      <dgm:spPr>
        <a:solidFill>
          <a:srgbClr val="C00000"/>
        </a:solidFill>
        <a:ln>
          <a:solidFill>
            <a:schemeClr val="bg1"/>
          </a:solidFill>
        </a:ln>
      </dgm:spPr>
      <dgm:t>
        <a:bodyPr/>
        <a:lstStyle/>
        <a:p>
          <a:r>
            <a:rPr lang="nl-NL" sz="1000" dirty="0" smtClean="0">
              <a:solidFill>
                <a:schemeClr val="bg1"/>
              </a:solidFill>
            </a:rPr>
            <a:t>Data </a:t>
          </a:r>
          <a:r>
            <a:rPr lang="nl-NL" sz="1000" dirty="0" err="1" smtClean="0">
              <a:solidFill>
                <a:schemeClr val="bg1"/>
              </a:solidFill>
            </a:rPr>
            <a:t>analytics</a:t>
          </a:r>
          <a:r>
            <a:rPr lang="nl-NL" sz="1000" dirty="0" smtClean="0">
              <a:solidFill>
                <a:schemeClr val="bg1"/>
              </a:solidFill>
            </a:rPr>
            <a:t> &amp; </a:t>
          </a:r>
          <a:r>
            <a:rPr lang="nl-NL" sz="1000" dirty="0" err="1" smtClean="0">
              <a:solidFill>
                <a:schemeClr val="bg1"/>
              </a:solidFill>
            </a:rPr>
            <a:t>science</a:t>
          </a:r>
          <a:endParaRPr lang="nl-NL" sz="1000" dirty="0">
            <a:solidFill>
              <a:schemeClr val="bg1"/>
            </a:solidFill>
          </a:endParaRPr>
        </a:p>
      </dgm:t>
    </dgm:pt>
    <dgm:pt modelId="{9039EAD3-CDDB-4CC8-A3AF-7A425DFF7FAF}" type="parTrans" cxnId="{9B937BAE-08F9-42AE-AC98-6AD3DC9FA8CB}">
      <dgm:prSet/>
      <dgm:spPr/>
      <dgm:t>
        <a:bodyPr/>
        <a:lstStyle/>
        <a:p>
          <a:endParaRPr lang="nl-NL" sz="1000"/>
        </a:p>
      </dgm:t>
    </dgm:pt>
    <dgm:pt modelId="{B40E2452-A66F-4500-9BFD-26EFE8F1C46C}" type="sibTrans" cxnId="{9B937BAE-08F9-42AE-AC98-6AD3DC9FA8CB}">
      <dgm:prSet/>
      <dgm:spPr/>
      <dgm:t>
        <a:bodyPr/>
        <a:lstStyle/>
        <a:p>
          <a:endParaRPr lang="nl-NL" sz="1000"/>
        </a:p>
      </dgm:t>
    </dgm:pt>
    <dgm:pt modelId="{746BBA83-FC51-4B44-8C3D-F93ACED5A830}">
      <dgm:prSet custT="1"/>
      <dgm:spPr/>
      <dgm:t>
        <a:bodyPr/>
        <a:lstStyle/>
        <a:p>
          <a:endParaRPr lang="nl-NL" sz="900"/>
        </a:p>
      </dgm:t>
    </dgm:pt>
    <dgm:pt modelId="{43D31E03-9F7F-4CDB-BA1E-5B60E76E75A0}" type="parTrans" cxnId="{5C8C9688-845D-407B-8262-856083BB8B02}">
      <dgm:prSet/>
      <dgm:spPr/>
      <dgm:t>
        <a:bodyPr/>
        <a:lstStyle/>
        <a:p>
          <a:endParaRPr lang="nl-NL" sz="1000"/>
        </a:p>
      </dgm:t>
    </dgm:pt>
    <dgm:pt modelId="{645A86AD-7CFE-406C-A490-80E89BBD3A4A}" type="sibTrans" cxnId="{5C8C9688-845D-407B-8262-856083BB8B02}">
      <dgm:prSet/>
      <dgm:spPr/>
      <dgm:t>
        <a:bodyPr/>
        <a:lstStyle/>
        <a:p>
          <a:endParaRPr lang="nl-NL" sz="1000"/>
        </a:p>
      </dgm:t>
    </dgm:pt>
    <dgm:pt modelId="{20446483-3131-45C6-9B63-8672E75978B6}">
      <dgm:prSet custT="1"/>
      <dgm:spPr/>
      <dgm:t>
        <a:bodyPr/>
        <a:lstStyle/>
        <a:p>
          <a:endParaRPr lang="nl-NL" sz="900"/>
        </a:p>
      </dgm:t>
    </dgm:pt>
    <dgm:pt modelId="{C592FC82-2CCB-41D1-AB19-C1027B3220DC}" type="parTrans" cxnId="{6AC51181-18CA-4071-8671-E723CB2F83E3}">
      <dgm:prSet/>
      <dgm:spPr/>
      <dgm:t>
        <a:bodyPr/>
        <a:lstStyle/>
        <a:p>
          <a:endParaRPr lang="nl-NL" sz="1000"/>
        </a:p>
      </dgm:t>
    </dgm:pt>
    <dgm:pt modelId="{744972D6-F7F9-4325-9F4B-A70060987F27}" type="sibTrans" cxnId="{6AC51181-18CA-4071-8671-E723CB2F83E3}">
      <dgm:prSet/>
      <dgm:spPr/>
      <dgm:t>
        <a:bodyPr/>
        <a:lstStyle/>
        <a:p>
          <a:endParaRPr lang="nl-NL" sz="1000"/>
        </a:p>
      </dgm:t>
    </dgm:pt>
    <dgm:pt modelId="{6CE1A86C-5E74-4ADB-95CE-83D1024B8A1B}">
      <dgm:prSet custT="1"/>
      <dgm:spPr/>
      <dgm:t>
        <a:bodyPr/>
        <a:lstStyle/>
        <a:p>
          <a:endParaRPr lang="nl-NL" sz="900" dirty="0"/>
        </a:p>
      </dgm:t>
    </dgm:pt>
    <dgm:pt modelId="{E68E1A5A-6E88-458A-8CB9-F2B234C35568}" type="parTrans" cxnId="{20E0196F-EDD9-474A-9FAF-DF8543639C6C}">
      <dgm:prSet/>
      <dgm:spPr/>
      <dgm:t>
        <a:bodyPr/>
        <a:lstStyle/>
        <a:p>
          <a:endParaRPr lang="nl-NL" sz="1000"/>
        </a:p>
      </dgm:t>
    </dgm:pt>
    <dgm:pt modelId="{CCAC4F14-E3B3-4CA3-9BF7-C73D5E00EE32}" type="sibTrans" cxnId="{20E0196F-EDD9-474A-9FAF-DF8543639C6C}">
      <dgm:prSet/>
      <dgm:spPr/>
      <dgm:t>
        <a:bodyPr/>
        <a:lstStyle/>
        <a:p>
          <a:endParaRPr lang="nl-NL" sz="1000"/>
        </a:p>
      </dgm:t>
    </dgm:pt>
    <dgm:pt modelId="{66E39E7D-DC2E-4284-993D-AFD4E5E98986}">
      <dgm:prSet custT="1"/>
      <dgm:spPr/>
      <dgm:t>
        <a:bodyPr/>
        <a:lstStyle/>
        <a:p>
          <a:r>
            <a:rPr lang="nl-NL" sz="900" dirty="0" smtClean="0"/>
            <a:t>…</a:t>
          </a:r>
          <a:endParaRPr lang="nl-NL" sz="900" dirty="0"/>
        </a:p>
      </dgm:t>
    </dgm:pt>
    <dgm:pt modelId="{D2917CAC-F82A-46EF-A20B-2F4A2F94E9FF}" type="parTrans" cxnId="{7B088858-B74C-43E2-9BE5-068D5D9E1AEB}">
      <dgm:prSet/>
      <dgm:spPr/>
      <dgm:t>
        <a:bodyPr/>
        <a:lstStyle/>
        <a:p>
          <a:endParaRPr lang="nl-NL" sz="1000"/>
        </a:p>
      </dgm:t>
    </dgm:pt>
    <dgm:pt modelId="{57835AF8-C1FC-4BCA-8913-7836892EA37D}" type="sibTrans" cxnId="{7B088858-B74C-43E2-9BE5-068D5D9E1AEB}">
      <dgm:prSet/>
      <dgm:spPr/>
      <dgm:t>
        <a:bodyPr/>
        <a:lstStyle/>
        <a:p>
          <a:endParaRPr lang="nl-NL" sz="1000"/>
        </a:p>
      </dgm:t>
    </dgm:pt>
    <dgm:pt modelId="{82B4419E-EA02-41F8-8851-D338BCF00BF0}">
      <dgm:prSet custT="1"/>
      <dgm:spPr/>
      <dgm:t>
        <a:bodyPr/>
        <a:lstStyle/>
        <a:p>
          <a:endParaRPr lang="nl-NL" sz="900" dirty="0"/>
        </a:p>
      </dgm:t>
    </dgm:pt>
    <dgm:pt modelId="{7A7B7C56-B4C7-4671-B013-0CA3A660B3FD}" type="parTrans" cxnId="{1E19AF31-A63C-4F46-B482-F715C1BB40D5}">
      <dgm:prSet/>
      <dgm:spPr/>
      <dgm:t>
        <a:bodyPr/>
        <a:lstStyle/>
        <a:p>
          <a:endParaRPr lang="nl-NL" sz="1000"/>
        </a:p>
      </dgm:t>
    </dgm:pt>
    <dgm:pt modelId="{90965BCE-1684-471D-AE9E-22ADC4D55E40}" type="sibTrans" cxnId="{1E19AF31-A63C-4F46-B482-F715C1BB40D5}">
      <dgm:prSet/>
      <dgm:spPr/>
      <dgm:t>
        <a:bodyPr/>
        <a:lstStyle/>
        <a:p>
          <a:endParaRPr lang="nl-NL" sz="1000"/>
        </a:p>
      </dgm:t>
    </dgm:pt>
    <dgm:pt modelId="{151429BB-703C-4837-AEAE-FB6E3DE6D505}">
      <dgm:prSet custT="1"/>
      <dgm:spPr/>
      <dgm:t>
        <a:bodyPr/>
        <a:lstStyle/>
        <a:p>
          <a:r>
            <a:rPr lang="nl-NL" sz="800" dirty="0"/>
            <a:t>‘Nieuwe data’ is </a:t>
          </a:r>
          <a:r>
            <a:rPr lang="nl-NL" sz="800" dirty="0" smtClean="0"/>
            <a:t>&gt; </a:t>
          </a:r>
          <a:r>
            <a:rPr lang="nl-NL" sz="800" dirty="0"/>
            <a:t>99% betrouwbaar en de </a:t>
          </a:r>
          <a:r>
            <a:rPr lang="nl-NL" sz="800" dirty="0" smtClean="0"/>
            <a:t>onbetrouwbare data </a:t>
          </a:r>
          <a:r>
            <a:rPr lang="nl-NL" sz="800" dirty="0"/>
            <a:t>is bekend.</a:t>
          </a:r>
        </a:p>
      </dgm:t>
    </dgm:pt>
    <dgm:pt modelId="{CE2A0741-45C2-4BEA-BD64-023BC7622332}" type="parTrans" cxnId="{8F30F11D-E87C-429F-A3B7-14360FA410AD}">
      <dgm:prSet/>
      <dgm:spPr/>
      <dgm:t>
        <a:bodyPr/>
        <a:lstStyle/>
        <a:p>
          <a:endParaRPr lang="nl-NL" sz="1000"/>
        </a:p>
      </dgm:t>
    </dgm:pt>
    <dgm:pt modelId="{31B627E5-D5DC-4932-8CC6-E7930B6676D9}" type="sibTrans" cxnId="{8F30F11D-E87C-429F-A3B7-14360FA410AD}">
      <dgm:prSet/>
      <dgm:spPr/>
      <dgm:t>
        <a:bodyPr/>
        <a:lstStyle/>
        <a:p>
          <a:endParaRPr lang="nl-NL" sz="1000"/>
        </a:p>
      </dgm:t>
    </dgm:pt>
    <dgm:pt modelId="{4E20D29C-B6C9-440B-AFF3-AEF13A3A4C36}">
      <dgm:prSet custT="1"/>
      <dgm:spPr/>
      <dgm:t>
        <a:bodyPr/>
        <a:lstStyle/>
        <a:p>
          <a:r>
            <a:rPr lang="nl-NL" sz="900" dirty="0" smtClean="0"/>
            <a:t>Data virtualisatie implementeren</a:t>
          </a:r>
          <a:endParaRPr lang="nl-NL" sz="900" dirty="0"/>
        </a:p>
      </dgm:t>
    </dgm:pt>
    <dgm:pt modelId="{0AC3526D-14AD-4864-BC54-CA2EC525943F}" type="parTrans" cxnId="{20329975-211D-4A3A-8C0F-DD54C84AD3BD}">
      <dgm:prSet/>
      <dgm:spPr/>
      <dgm:t>
        <a:bodyPr/>
        <a:lstStyle/>
        <a:p>
          <a:endParaRPr lang="nl-NL" sz="1000"/>
        </a:p>
      </dgm:t>
    </dgm:pt>
    <dgm:pt modelId="{18736C93-2A1D-4F22-8952-5A44ED9B99A1}" type="sibTrans" cxnId="{20329975-211D-4A3A-8C0F-DD54C84AD3BD}">
      <dgm:prSet/>
      <dgm:spPr/>
      <dgm:t>
        <a:bodyPr/>
        <a:lstStyle/>
        <a:p>
          <a:endParaRPr lang="nl-NL" sz="1000"/>
        </a:p>
      </dgm:t>
    </dgm:pt>
    <dgm:pt modelId="{AA8DBEC3-5730-473F-B244-820415D3B97D}">
      <dgm:prSet custT="1"/>
      <dgm:spPr/>
      <dgm:t>
        <a:bodyPr/>
        <a:lstStyle/>
        <a:p>
          <a:r>
            <a:rPr lang="nl-NL" sz="900" dirty="0" smtClean="0"/>
            <a:t>Data </a:t>
          </a:r>
          <a:r>
            <a:rPr lang="nl-NL" sz="900" dirty="0" err="1" smtClean="0"/>
            <a:t>lake</a:t>
          </a:r>
          <a:r>
            <a:rPr lang="nl-NL" sz="900" dirty="0" smtClean="0"/>
            <a:t> implementeren</a:t>
          </a:r>
          <a:endParaRPr lang="nl-NL" sz="900" dirty="0"/>
        </a:p>
      </dgm:t>
    </dgm:pt>
    <dgm:pt modelId="{FF21C5BA-C31C-4EE9-8435-9F3E74196BB2}" type="parTrans" cxnId="{A19ED3F0-D3F5-4544-A864-F0CB4CCF69B9}">
      <dgm:prSet/>
      <dgm:spPr/>
      <dgm:t>
        <a:bodyPr/>
        <a:lstStyle/>
        <a:p>
          <a:endParaRPr lang="nl-NL" sz="1000"/>
        </a:p>
      </dgm:t>
    </dgm:pt>
    <dgm:pt modelId="{016D74AE-0885-463A-8830-0E4EE253A780}" type="sibTrans" cxnId="{A19ED3F0-D3F5-4544-A864-F0CB4CCF69B9}">
      <dgm:prSet/>
      <dgm:spPr/>
      <dgm:t>
        <a:bodyPr/>
        <a:lstStyle/>
        <a:p>
          <a:endParaRPr lang="nl-NL" sz="1000"/>
        </a:p>
      </dgm:t>
    </dgm:pt>
    <dgm:pt modelId="{1CEA679C-96CA-460E-AC4E-1582F3BE9109}">
      <dgm:prSet custT="1"/>
      <dgm:spPr>
        <a:solidFill>
          <a:schemeClr val="accent1">
            <a:lumMod val="90000"/>
          </a:schemeClr>
        </a:solidFill>
        <a:ln>
          <a:solidFill>
            <a:schemeClr val="accent1">
              <a:lumMod val="90000"/>
            </a:schemeClr>
          </a:solidFill>
        </a:ln>
      </dgm:spPr>
      <dgm:t>
        <a:bodyPr/>
        <a:lstStyle/>
        <a:p>
          <a:r>
            <a:rPr lang="nl-NL" sz="800" dirty="0" smtClean="0"/>
            <a:t>Power </a:t>
          </a:r>
          <a:r>
            <a:rPr lang="nl-NL" sz="800" dirty="0"/>
            <a:t>BI </a:t>
          </a:r>
          <a:r>
            <a:rPr lang="nl-NL" sz="800" dirty="0" smtClean="0"/>
            <a:t>verder uitrollen</a:t>
          </a:r>
          <a:endParaRPr lang="nl-NL" sz="800" dirty="0"/>
        </a:p>
      </dgm:t>
    </dgm:pt>
    <dgm:pt modelId="{142C46B5-687D-479B-9E79-40DA7F5DEF44}" type="parTrans" cxnId="{FF888F5F-DB76-4362-9E36-8483708879BB}">
      <dgm:prSet/>
      <dgm:spPr/>
      <dgm:t>
        <a:bodyPr/>
        <a:lstStyle/>
        <a:p>
          <a:endParaRPr lang="nl-NL" sz="1000"/>
        </a:p>
      </dgm:t>
    </dgm:pt>
    <dgm:pt modelId="{6F495585-C16D-46B3-BD6D-CD5560F9DB86}" type="sibTrans" cxnId="{FF888F5F-DB76-4362-9E36-8483708879BB}">
      <dgm:prSet/>
      <dgm:spPr/>
      <dgm:t>
        <a:bodyPr/>
        <a:lstStyle/>
        <a:p>
          <a:endParaRPr lang="nl-NL" sz="1000"/>
        </a:p>
      </dgm:t>
    </dgm:pt>
    <dgm:pt modelId="{9A17E9D9-E8F2-4A3D-B3C2-0BF77FF6D42E}">
      <dgm:prSet custT="1"/>
      <dgm:spPr/>
      <dgm:t>
        <a:bodyPr/>
        <a:lstStyle/>
        <a:p>
          <a:r>
            <a:rPr lang="nl-NL" sz="800" dirty="0" smtClean="0"/>
            <a:t>Power BI volledig geïmplementeerd</a:t>
          </a:r>
        </a:p>
      </dgm:t>
    </dgm:pt>
    <dgm:pt modelId="{1E3B8620-2598-4AD1-B142-4BF992FCC7D5}" type="parTrans" cxnId="{7BFCD170-6D7A-4815-B43E-FC0D2CF65DDA}">
      <dgm:prSet/>
      <dgm:spPr/>
      <dgm:t>
        <a:bodyPr/>
        <a:lstStyle/>
        <a:p>
          <a:endParaRPr lang="nl-NL" sz="1000"/>
        </a:p>
      </dgm:t>
    </dgm:pt>
    <dgm:pt modelId="{E69B4927-D436-46DC-B02B-BBE2B2FB337F}" type="sibTrans" cxnId="{7BFCD170-6D7A-4815-B43E-FC0D2CF65DDA}">
      <dgm:prSet/>
      <dgm:spPr/>
      <dgm:t>
        <a:bodyPr/>
        <a:lstStyle/>
        <a:p>
          <a:endParaRPr lang="nl-NL" sz="1000"/>
        </a:p>
      </dgm:t>
    </dgm:pt>
    <dgm:pt modelId="{7EDDC5A2-9A6F-4101-B5CB-77EDED0EB09F}">
      <dgm:prSet custT="1"/>
      <dgm:spPr/>
      <dgm:t>
        <a:bodyPr/>
        <a:lstStyle/>
        <a:p>
          <a:r>
            <a:rPr lang="nl-NL" sz="900" dirty="0" smtClean="0"/>
            <a:t>…</a:t>
          </a:r>
          <a:endParaRPr lang="nl-NL" sz="900" dirty="0"/>
        </a:p>
      </dgm:t>
    </dgm:pt>
    <dgm:pt modelId="{994A2668-1209-4FF4-84C6-EBEFEE5719F7}" type="parTrans" cxnId="{3C475407-F480-4626-964A-7BA9A53E8463}">
      <dgm:prSet/>
      <dgm:spPr/>
      <dgm:t>
        <a:bodyPr/>
        <a:lstStyle/>
        <a:p>
          <a:endParaRPr lang="nl-NL" sz="1000"/>
        </a:p>
      </dgm:t>
    </dgm:pt>
    <dgm:pt modelId="{6F48EEA3-B2B6-4574-A8AF-5F75DE2E1693}" type="sibTrans" cxnId="{3C475407-F480-4626-964A-7BA9A53E8463}">
      <dgm:prSet/>
      <dgm:spPr/>
      <dgm:t>
        <a:bodyPr/>
        <a:lstStyle/>
        <a:p>
          <a:endParaRPr lang="nl-NL" sz="1000"/>
        </a:p>
      </dgm:t>
    </dgm:pt>
    <dgm:pt modelId="{200D83AC-C5D0-41BA-811A-B3A51FAD78B6}">
      <dgm:prSet custT="1"/>
      <dgm:spPr>
        <a:solidFill>
          <a:srgbClr val="C00000"/>
        </a:solidFill>
        <a:ln>
          <a:solidFill>
            <a:schemeClr val="bg1"/>
          </a:solidFill>
        </a:ln>
      </dgm:spPr>
      <dgm:t>
        <a:bodyPr/>
        <a:lstStyle/>
        <a:p>
          <a:r>
            <a:rPr lang="nl-NL" sz="800" dirty="0" smtClean="0">
              <a:solidFill>
                <a:schemeClr val="bg1"/>
              </a:solidFill>
            </a:rPr>
            <a:t>Ondersteunen processen</a:t>
          </a:r>
          <a:endParaRPr lang="nl-NL" sz="800" dirty="0">
            <a:solidFill>
              <a:schemeClr val="bg1"/>
            </a:solidFill>
          </a:endParaRPr>
        </a:p>
      </dgm:t>
    </dgm:pt>
    <dgm:pt modelId="{02835EAF-5BF8-4E07-A431-46A922AABF34}" type="parTrans" cxnId="{8324EA51-7934-404F-ACE3-781E3D7CB194}">
      <dgm:prSet/>
      <dgm:spPr/>
      <dgm:t>
        <a:bodyPr/>
        <a:lstStyle/>
        <a:p>
          <a:endParaRPr lang="nl-NL"/>
        </a:p>
      </dgm:t>
    </dgm:pt>
    <dgm:pt modelId="{326B56DF-E23E-423F-BF5D-22C07A504864}" type="sibTrans" cxnId="{8324EA51-7934-404F-ACE3-781E3D7CB194}">
      <dgm:prSet/>
      <dgm:spPr/>
      <dgm:t>
        <a:bodyPr/>
        <a:lstStyle/>
        <a:p>
          <a:endParaRPr lang="nl-NL"/>
        </a:p>
      </dgm:t>
    </dgm:pt>
    <dgm:pt modelId="{68429C62-D242-4BC3-A936-D3E8773B3F8C}">
      <dgm:prSet custT="1"/>
      <dgm:spPr>
        <a:solidFill>
          <a:srgbClr val="E7F3F4"/>
        </a:solidFill>
        <a:ln>
          <a:solidFill>
            <a:srgbClr val="E7F3F4"/>
          </a:solidFill>
        </a:ln>
      </dgm:spPr>
      <dgm:t>
        <a:bodyPr/>
        <a:lstStyle/>
        <a:p>
          <a:endParaRPr lang="nl-NL" sz="1000" dirty="0">
            <a:solidFill>
              <a:schemeClr val="bg1"/>
            </a:solidFill>
          </a:endParaRPr>
        </a:p>
      </dgm:t>
    </dgm:pt>
    <dgm:pt modelId="{CAC87AB9-4961-4200-9EF0-9F5DEFE8427F}" type="parTrans" cxnId="{918F00CB-7114-4282-87B4-A1E0010BE594}">
      <dgm:prSet/>
      <dgm:spPr/>
      <dgm:t>
        <a:bodyPr/>
        <a:lstStyle/>
        <a:p>
          <a:endParaRPr lang="nl-NL"/>
        </a:p>
      </dgm:t>
    </dgm:pt>
    <dgm:pt modelId="{52E6E5FB-CBC5-4096-AD5B-3F97BC6BC467}" type="sibTrans" cxnId="{918F00CB-7114-4282-87B4-A1E0010BE594}">
      <dgm:prSet/>
      <dgm:spPr/>
      <dgm:t>
        <a:bodyPr/>
        <a:lstStyle/>
        <a:p>
          <a:endParaRPr lang="nl-NL"/>
        </a:p>
      </dgm:t>
    </dgm:pt>
    <dgm:pt modelId="{ABACAD75-007F-486F-83CA-EC41F3F0DDD7}">
      <dgm:prSet custT="1"/>
      <dgm:spPr>
        <a:solidFill>
          <a:schemeClr val="accent1">
            <a:lumMod val="90000"/>
          </a:schemeClr>
        </a:solidFill>
        <a:ln>
          <a:solidFill>
            <a:schemeClr val="accent1">
              <a:lumMod val="90000"/>
            </a:schemeClr>
          </a:solidFill>
        </a:ln>
      </dgm:spPr>
      <dgm:t>
        <a:bodyPr/>
        <a:lstStyle/>
        <a:p>
          <a:r>
            <a:rPr lang="nl-NL" sz="800" dirty="0" smtClean="0">
              <a:solidFill>
                <a:schemeClr val="tx1"/>
              </a:solidFill>
            </a:rPr>
            <a:t>RPA </a:t>
          </a:r>
          <a:r>
            <a:rPr lang="nl-NL" sz="800" dirty="0" err="1" smtClean="0">
              <a:solidFill>
                <a:schemeClr val="tx1"/>
              </a:solidFill>
            </a:rPr>
            <a:t>Poc</a:t>
          </a:r>
          <a:r>
            <a:rPr lang="nl-NL" sz="800" dirty="0" smtClean="0">
              <a:solidFill>
                <a:schemeClr val="tx1"/>
              </a:solidFill>
            </a:rPr>
            <a:t> en </a:t>
          </a:r>
          <a:r>
            <a:rPr lang="nl-NL" sz="800" dirty="0" err="1" smtClean="0">
              <a:solidFill>
                <a:schemeClr val="tx1"/>
              </a:solidFill>
            </a:rPr>
            <a:t>evt</a:t>
          </a:r>
          <a:r>
            <a:rPr lang="nl-NL" sz="800" dirty="0" smtClean="0">
              <a:solidFill>
                <a:schemeClr val="tx1"/>
              </a:solidFill>
            </a:rPr>
            <a:t> start verdere uitrol</a:t>
          </a:r>
        </a:p>
        <a:p>
          <a:r>
            <a:rPr lang="nl-NL" sz="800" dirty="0" smtClean="0">
              <a:solidFill>
                <a:schemeClr val="tx1"/>
              </a:solidFill>
            </a:rPr>
            <a:t>Procesbeheer optimaliseren</a:t>
          </a:r>
          <a:endParaRPr lang="nl-NL" sz="800" dirty="0">
            <a:solidFill>
              <a:schemeClr val="tx1"/>
            </a:solidFill>
          </a:endParaRPr>
        </a:p>
      </dgm:t>
    </dgm:pt>
    <dgm:pt modelId="{ADF28917-8CFC-4DCB-80E7-A3EC58D1442A}" type="parTrans" cxnId="{3BE95EA7-A23F-46CF-9AE2-A7847100C1D1}">
      <dgm:prSet/>
      <dgm:spPr/>
      <dgm:t>
        <a:bodyPr/>
        <a:lstStyle/>
        <a:p>
          <a:endParaRPr lang="nl-NL"/>
        </a:p>
      </dgm:t>
    </dgm:pt>
    <dgm:pt modelId="{6EAF9AE8-D9C5-4560-A895-59DC232067EC}" type="sibTrans" cxnId="{3BE95EA7-A23F-46CF-9AE2-A7847100C1D1}">
      <dgm:prSet/>
      <dgm:spPr/>
      <dgm:t>
        <a:bodyPr/>
        <a:lstStyle/>
        <a:p>
          <a:endParaRPr lang="nl-NL"/>
        </a:p>
      </dgm:t>
    </dgm:pt>
    <dgm:pt modelId="{CB6FAE99-E207-43D6-9909-0E528E6DD096}">
      <dgm:prSet custT="1"/>
      <dgm:spPr>
        <a:solidFill>
          <a:srgbClr val="E7F3F4"/>
        </a:solidFill>
        <a:ln>
          <a:solidFill>
            <a:srgbClr val="E7F3F4"/>
          </a:solidFill>
        </a:ln>
      </dgm:spPr>
      <dgm:t>
        <a:bodyPr/>
        <a:lstStyle/>
        <a:p>
          <a:r>
            <a:rPr lang="nl-NL" sz="800" dirty="0" smtClean="0">
              <a:solidFill>
                <a:schemeClr val="tx1"/>
              </a:solidFill>
            </a:rPr>
            <a:t>Straight Through Processing optimaliseren</a:t>
          </a:r>
          <a:endParaRPr lang="nl-NL" sz="800" dirty="0">
            <a:solidFill>
              <a:schemeClr val="tx1"/>
            </a:solidFill>
          </a:endParaRPr>
        </a:p>
      </dgm:t>
    </dgm:pt>
    <dgm:pt modelId="{850A43FF-6EA5-4E42-AE16-75253B1F495C}" type="parTrans" cxnId="{F24AD269-740D-45CE-AD69-40BA6F3127DE}">
      <dgm:prSet/>
      <dgm:spPr/>
      <dgm:t>
        <a:bodyPr/>
        <a:lstStyle/>
        <a:p>
          <a:endParaRPr lang="nl-NL"/>
        </a:p>
      </dgm:t>
    </dgm:pt>
    <dgm:pt modelId="{0714D0F9-A663-4D80-8200-CDA9FD8B3394}" type="sibTrans" cxnId="{F24AD269-740D-45CE-AD69-40BA6F3127DE}">
      <dgm:prSet/>
      <dgm:spPr/>
      <dgm:t>
        <a:bodyPr/>
        <a:lstStyle/>
        <a:p>
          <a:endParaRPr lang="nl-NL"/>
        </a:p>
      </dgm:t>
    </dgm:pt>
    <dgm:pt modelId="{0DDA3729-7A05-4DAF-846F-9BDFA20AE763}">
      <dgm:prSet custT="1"/>
      <dgm:spPr>
        <a:solidFill>
          <a:srgbClr val="E7F3F4"/>
        </a:solidFill>
        <a:ln>
          <a:solidFill>
            <a:srgbClr val="E7F3F4"/>
          </a:solidFill>
        </a:ln>
      </dgm:spPr>
      <dgm:t>
        <a:bodyPr/>
        <a:lstStyle/>
        <a:p>
          <a:endParaRPr lang="nl-NL" sz="1000" dirty="0">
            <a:solidFill>
              <a:schemeClr val="bg1"/>
            </a:solidFill>
          </a:endParaRPr>
        </a:p>
      </dgm:t>
    </dgm:pt>
    <dgm:pt modelId="{0DCAD51C-6F29-40BF-9229-21BCA7B26244}" type="parTrans" cxnId="{54C95902-4685-4EE1-9B3F-CB0F6B943545}">
      <dgm:prSet/>
      <dgm:spPr/>
      <dgm:t>
        <a:bodyPr/>
        <a:lstStyle/>
        <a:p>
          <a:endParaRPr lang="nl-NL"/>
        </a:p>
      </dgm:t>
    </dgm:pt>
    <dgm:pt modelId="{C8F776BB-5F51-48E7-828C-55F3903B918E}" type="sibTrans" cxnId="{54C95902-4685-4EE1-9B3F-CB0F6B943545}">
      <dgm:prSet/>
      <dgm:spPr/>
      <dgm:t>
        <a:bodyPr/>
        <a:lstStyle/>
        <a:p>
          <a:endParaRPr lang="nl-NL"/>
        </a:p>
      </dgm:t>
    </dgm:pt>
    <dgm:pt modelId="{CF01FD37-5215-4548-BE2B-78D055A4E21C}">
      <dgm:prSet custT="1"/>
      <dgm:spPr>
        <a:solidFill>
          <a:srgbClr val="E7F3F4"/>
        </a:solidFill>
        <a:ln>
          <a:solidFill>
            <a:srgbClr val="E7F3F4"/>
          </a:solidFill>
        </a:ln>
      </dgm:spPr>
      <dgm:t>
        <a:bodyPr/>
        <a:lstStyle/>
        <a:p>
          <a:endParaRPr lang="nl-NL" sz="1000" dirty="0">
            <a:solidFill>
              <a:schemeClr val="bg1"/>
            </a:solidFill>
          </a:endParaRPr>
        </a:p>
      </dgm:t>
    </dgm:pt>
    <dgm:pt modelId="{4A5B2C15-00E8-40AB-8A4F-E88B3CA0C16A}" type="parTrans" cxnId="{A32DB05A-8FEF-47BE-805D-40B46CA34140}">
      <dgm:prSet/>
      <dgm:spPr/>
      <dgm:t>
        <a:bodyPr/>
        <a:lstStyle/>
        <a:p>
          <a:endParaRPr lang="nl-NL"/>
        </a:p>
      </dgm:t>
    </dgm:pt>
    <dgm:pt modelId="{F0D003A9-21FE-4089-A0BD-5D597502A6A9}" type="sibTrans" cxnId="{A32DB05A-8FEF-47BE-805D-40B46CA34140}">
      <dgm:prSet/>
      <dgm:spPr/>
      <dgm:t>
        <a:bodyPr/>
        <a:lstStyle/>
        <a:p>
          <a:endParaRPr lang="nl-NL"/>
        </a:p>
      </dgm:t>
    </dgm:pt>
    <dgm:pt modelId="{1DE78E1A-287A-4644-911E-2C3E7FDD395B}" type="pres">
      <dgm:prSet presAssocID="{A4C25754-AF2E-445A-B1C4-208C361E3027}" presName="Name0" presStyleCnt="0">
        <dgm:presLayoutVars>
          <dgm:chPref val="3"/>
          <dgm:dir/>
          <dgm:animLvl val="lvl"/>
          <dgm:resizeHandles/>
        </dgm:presLayoutVars>
      </dgm:prSet>
      <dgm:spPr/>
      <dgm:t>
        <a:bodyPr/>
        <a:lstStyle/>
        <a:p>
          <a:endParaRPr lang="nl-NL"/>
        </a:p>
      </dgm:t>
    </dgm:pt>
    <dgm:pt modelId="{1A84AAE2-0808-451B-B00F-51978064A56A}" type="pres">
      <dgm:prSet presAssocID="{647DD7A5-0012-436B-BAB9-BDE52DC25B90}" presName="horFlow" presStyleCnt="0"/>
      <dgm:spPr/>
      <dgm:t>
        <a:bodyPr/>
        <a:lstStyle/>
        <a:p>
          <a:endParaRPr lang="nl-NL"/>
        </a:p>
      </dgm:t>
    </dgm:pt>
    <dgm:pt modelId="{F6E04653-AC57-46CE-A503-3CBBAD1D7D39}" type="pres">
      <dgm:prSet presAssocID="{647DD7A5-0012-436B-BAB9-BDE52DC25B90}" presName="bigChev" presStyleLbl="node1" presStyleIdx="0" presStyleCnt="5" custScaleX="84206" custScaleY="80240"/>
      <dgm:spPr/>
      <dgm:t>
        <a:bodyPr/>
        <a:lstStyle/>
        <a:p>
          <a:endParaRPr lang="nl-NL"/>
        </a:p>
      </dgm:t>
    </dgm:pt>
    <dgm:pt modelId="{2FD405EF-9A12-4113-837F-4235A9C8BCDF}" type="pres">
      <dgm:prSet presAssocID="{583416F9-FBC6-4C82-8614-951CEE12CD70}" presName="parTrans" presStyleCnt="0"/>
      <dgm:spPr/>
      <dgm:t>
        <a:bodyPr/>
        <a:lstStyle/>
        <a:p>
          <a:endParaRPr lang="nl-NL"/>
        </a:p>
      </dgm:t>
    </dgm:pt>
    <dgm:pt modelId="{9E6C8AC0-5D21-43F3-83C4-CC1B7203E690}" type="pres">
      <dgm:prSet presAssocID="{6D8F2393-DBD3-466D-BB9D-AE10062D1E45}" presName="node" presStyleLbl="alignAccFollowNode1" presStyleIdx="0" presStyleCnt="25" custScaleX="119879" custScaleY="96675">
        <dgm:presLayoutVars>
          <dgm:bulletEnabled val="1"/>
        </dgm:presLayoutVars>
      </dgm:prSet>
      <dgm:spPr/>
      <dgm:t>
        <a:bodyPr/>
        <a:lstStyle/>
        <a:p>
          <a:endParaRPr lang="nl-NL"/>
        </a:p>
      </dgm:t>
    </dgm:pt>
    <dgm:pt modelId="{12437B27-DC93-4BD7-BC2C-B48051EB2B27}" type="pres">
      <dgm:prSet presAssocID="{03DE5228-1E63-4C54-9AE4-3B883B2F1DBA}" presName="sibTrans" presStyleCnt="0"/>
      <dgm:spPr/>
      <dgm:t>
        <a:bodyPr/>
        <a:lstStyle/>
        <a:p>
          <a:endParaRPr lang="nl-NL"/>
        </a:p>
      </dgm:t>
    </dgm:pt>
    <dgm:pt modelId="{5F155100-7715-4A17-90EE-690DB2345E60}" type="pres">
      <dgm:prSet presAssocID="{545954EC-4953-467F-8E27-933BAB5A8E05}" presName="node" presStyleLbl="alignAccFollowNode1" presStyleIdx="1" presStyleCnt="25" custScaleX="119879" custScaleY="96675">
        <dgm:presLayoutVars>
          <dgm:bulletEnabled val="1"/>
        </dgm:presLayoutVars>
      </dgm:prSet>
      <dgm:spPr/>
      <dgm:t>
        <a:bodyPr/>
        <a:lstStyle/>
        <a:p>
          <a:endParaRPr lang="nl-NL"/>
        </a:p>
      </dgm:t>
    </dgm:pt>
    <dgm:pt modelId="{556E6604-75C8-47B9-8F4D-7B0C112FFCB2}" type="pres">
      <dgm:prSet presAssocID="{3195B29B-0B9A-47B3-B2F4-4FDC8876F8E7}" presName="sibTrans" presStyleCnt="0"/>
      <dgm:spPr/>
      <dgm:t>
        <a:bodyPr/>
        <a:lstStyle/>
        <a:p>
          <a:endParaRPr lang="nl-NL"/>
        </a:p>
      </dgm:t>
    </dgm:pt>
    <dgm:pt modelId="{7BCA09AF-73D2-4619-A7A7-F58A620080A0}" type="pres">
      <dgm:prSet presAssocID="{0EEE7DE5-2B00-458B-BCAB-CB504BAD12E7}" presName="node" presStyleLbl="alignAccFollowNode1" presStyleIdx="2" presStyleCnt="25" custScaleX="119879" custScaleY="96675">
        <dgm:presLayoutVars>
          <dgm:bulletEnabled val="1"/>
        </dgm:presLayoutVars>
      </dgm:prSet>
      <dgm:spPr/>
      <dgm:t>
        <a:bodyPr/>
        <a:lstStyle/>
        <a:p>
          <a:endParaRPr lang="nl-NL"/>
        </a:p>
      </dgm:t>
    </dgm:pt>
    <dgm:pt modelId="{6993564F-6DB6-4935-B3A0-CE9427733D38}" type="pres">
      <dgm:prSet presAssocID="{9F4A5B04-0051-4F5D-9849-79FF15B78EF0}" presName="sibTrans" presStyleCnt="0"/>
      <dgm:spPr/>
      <dgm:t>
        <a:bodyPr/>
        <a:lstStyle/>
        <a:p>
          <a:endParaRPr lang="nl-NL"/>
        </a:p>
      </dgm:t>
    </dgm:pt>
    <dgm:pt modelId="{6F58A52D-AFF9-49F5-8538-1AB9A54C1571}" type="pres">
      <dgm:prSet presAssocID="{1F00858C-756E-438F-ACFC-655C02058CEA}" presName="node" presStyleLbl="alignAccFollowNode1" presStyleIdx="3" presStyleCnt="25" custScaleX="119879" custScaleY="96675">
        <dgm:presLayoutVars>
          <dgm:bulletEnabled val="1"/>
        </dgm:presLayoutVars>
      </dgm:prSet>
      <dgm:spPr/>
      <dgm:t>
        <a:bodyPr/>
        <a:lstStyle/>
        <a:p>
          <a:endParaRPr lang="nl-NL"/>
        </a:p>
      </dgm:t>
    </dgm:pt>
    <dgm:pt modelId="{26A65A6A-FEA9-4FF4-AB74-E96C5C5FD924}" type="pres">
      <dgm:prSet presAssocID="{E87351C3-C3F4-4BF9-BC9D-FD82FB04DFC6}" presName="sibTrans" presStyleCnt="0"/>
      <dgm:spPr/>
      <dgm:t>
        <a:bodyPr/>
        <a:lstStyle/>
        <a:p>
          <a:endParaRPr lang="nl-NL"/>
        </a:p>
      </dgm:t>
    </dgm:pt>
    <dgm:pt modelId="{9DA68F1C-8A13-4764-9EED-8C5C1AC113E6}" type="pres">
      <dgm:prSet presAssocID="{2B87F55F-3DDA-4DB8-85DC-69C630658C4A}" presName="node" presStyleLbl="alignAccFollowNode1" presStyleIdx="4" presStyleCnt="25" custScaleX="119879" custScaleY="96675">
        <dgm:presLayoutVars>
          <dgm:bulletEnabled val="1"/>
        </dgm:presLayoutVars>
      </dgm:prSet>
      <dgm:spPr/>
      <dgm:t>
        <a:bodyPr/>
        <a:lstStyle/>
        <a:p>
          <a:endParaRPr lang="nl-NL"/>
        </a:p>
      </dgm:t>
    </dgm:pt>
    <dgm:pt modelId="{0D952C92-7C21-4671-AE94-64DCC08CB47C}" type="pres">
      <dgm:prSet presAssocID="{647DD7A5-0012-436B-BAB9-BDE52DC25B90}" presName="vSp" presStyleCnt="0"/>
      <dgm:spPr/>
      <dgm:t>
        <a:bodyPr/>
        <a:lstStyle/>
        <a:p>
          <a:endParaRPr lang="nl-NL"/>
        </a:p>
      </dgm:t>
    </dgm:pt>
    <dgm:pt modelId="{FED88096-892B-4EC2-9E54-1AC122C68345}" type="pres">
      <dgm:prSet presAssocID="{22C9BA16-C912-4AB8-B16E-FF797935FE95}" presName="horFlow" presStyleCnt="0"/>
      <dgm:spPr/>
      <dgm:t>
        <a:bodyPr/>
        <a:lstStyle/>
        <a:p>
          <a:endParaRPr lang="nl-NL"/>
        </a:p>
      </dgm:t>
    </dgm:pt>
    <dgm:pt modelId="{45A1425D-2946-43E1-B1EC-77043B192449}" type="pres">
      <dgm:prSet presAssocID="{22C9BA16-C912-4AB8-B16E-FF797935FE95}" presName="bigChev" presStyleLbl="node1" presStyleIdx="1" presStyleCnt="5" custScaleX="84206" custScaleY="80240"/>
      <dgm:spPr/>
      <dgm:t>
        <a:bodyPr/>
        <a:lstStyle/>
        <a:p>
          <a:endParaRPr lang="nl-NL"/>
        </a:p>
      </dgm:t>
    </dgm:pt>
    <dgm:pt modelId="{6EDFC9BE-7488-47C8-9C6B-A9C6D1E82C02}" type="pres">
      <dgm:prSet presAssocID="{7C76C83D-CE5B-4D7C-AD83-B4E39CEEF00A}" presName="parTrans" presStyleCnt="0"/>
      <dgm:spPr/>
      <dgm:t>
        <a:bodyPr/>
        <a:lstStyle/>
        <a:p>
          <a:endParaRPr lang="nl-NL"/>
        </a:p>
      </dgm:t>
    </dgm:pt>
    <dgm:pt modelId="{050DB05E-783F-4CCF-9747-F95A7E32D478}" type="pres">
      <dgm:prSet presAssocID="{17FA8828-52A2-4AF5-B391-AB85135831D1}" presName="node" presStyleLbl="alignAccFollowNode1" presStyleIdx="5" presStyleCnt="25" custScaleX="119879" custScaleY="96675">
        <dgm:presLayoutVars>
          <dgm:bulletEnabled val="1"/>
        </dgm:presLayoutVars>
      </dgm:prSet>
      <dgm:spPr/>
      <dgm:t>
        <a:bodyPr/>
        <a:lstStyle/>
        <a:p>
          <a:endParaRPr lang="nl-NL"/>
        </a:p>
      </dgm:t>
    </dgm:pt>
    <dgm:pt modelId="{3F8234F6-BDB0-48B1-8C45-48C899BF167B}" type="pres">
      <dgm:prSet presAssocID="{5831FBD0-5DF6-4737-9D40-31BD670C5784}" presName="sibTrans" presStyleCnt="0"/>
      <dgm:spPr/>
      <dgm:t>
        <a:bodyPr/>
        <a:lstStyle/>
        <a:p>
          <a:endParaRPr lang="nl-NL"/>
        </a:p>
      </dgm:t>
    </dgm:pt>
    <dgm:pt modelId="{EE523708-1E1B-4AAA-A918-8F0DB46124F9}" type="pres">
      <dgm:prSet presAssocID="{1C057D00-7046-4C92-8845-E659397CD6FE}" presName="node" presStyleLbl="alignAccFollowNode1" presStyleIdx="6" presStyleCnt="25" custScaleX="119879" custScaleY="96675">
        <dgm:presLayoutVars>
          <dgm:bulletEnabled val="1"/>
        </dgm:presLayoutVars>
      </dgm:prSet>
      <dgm:spPr/>
      <dgm:t>
        <a:bodyPr/>
        <a:lstStyle/>
        <a:p>
          <a:endParaRPr lang="nl-NL"/>
        </a:p>
      </dgm:t>
    </dgm:pt>
    <dgm:pt modelId="{394A353D-2412-4CC3-8B67-F3A0F8C998EB}" type="pres">
      <dgm:prSet presAssocID="{9F92A93D-431C-4D58-AC15-E971BD7417E8}" presName="sibTrans" presStyleCnt="0"/>
      <dgm:spPr/>
      <dgm:t>
        <a:bodyPr/>
        <a:lstStyle/>
        <a:p>
          <a:endParaRPr lang="nl-NL"/>
        </a:p>
      </dgm:t>
    </dgm:pt>
    <dgm:pt modelId="{87B307EE-F7E3-478C-99DF-363D7920F82C}" type="pres">
      <dgm:prSet presAssocID="{151429BB-703C-4837-AEAE-FB6E3DE6D505}" presName="node" presStyleLbl="alignAccFollowNode1" presStyleIdx="7" presStyleCnt="25" custScaleX="119879" custScaleY="96675">
        <dgm:presLayoutVars>
          <dgm:bulletEnabled val="1"/>
        </dgm:presLayoutVars>
      </dgm:prSet>
      <dgm:spPr/>
      <dgm:t>
        <a:bodyPr/>
        <a:lstStyle/>
        <a:p>
          <a:endParaRPr lang="nl-NL"/>
        </a:p>
      </dgm:t>
    </dgm:pt>
    <dgm:pt modelId="{1F7177C5-C327-4167-AB92-530115D8A37A}" type="pres">
      <dgm:prSet presAssocID="{31B627E5-D5DC-4932-8CC6-E7930B6676D9}" presName="sibTrans" presStyleCnt="0"/>
      <dgm:spPr/>
      <dgm:t>
        <a:bodyPr/>
        <a:lstStyle/>
        <a:p>
          <a:endParaRPr lang="nl-NL"/>
        </a:p>
      </dgm:t>
    </dgm:pt>
    <dgm:pt modelId="{CED8139D-1618-489C-91A6-6B435D2A051E}" type="pres">
      <dgm:prSet presAssocID="{746BBA83-FC51-4B44-8C3D-F93ACED5A830}" presName="node" presStyleLbl="alignAccFollowNode1" presStyleIdx="8" presStyleCnt="25" custScaleX="119879" custScaleY="96675">
        <dgm:presLayoutVars>
          <dgm:bulletEnabled val="1"/>
        </dgm:presLayoutVars>
      </dgm:prSet>
      <dgm:spPr/>
      <dgm:t>
        <a:bodyPr/>
        <a:lstStyle/>
        <a:p>
          <a:endParaRPr lang="nl-NL"/>
        </a:p>
      </dgm:t>
    </dgm:pt>
    <dgm:pt modelId="{232C0BA6-DDAE-4F0C-A30C-002BE01369D9}" type="pres">
      <dgm:prSet presAssocID="{645A86AD-7CFE-406C-A490-80E89BBD3A4A}" presName="sibTrans" presStyleCnt="0"/>
      <dgm:spPr/>
      <dgm:t>
        <a:bodyPr/>
        <a:lstStyle/>
        <a:p>
          <a:endParaRPr lang="nl-NL"/>
        </a:p>
      </dgm:t>
    </dgm:pt>
    <dgm:pt modelId="{76A59E32-1369-43F3-BA20-12EAEE339E49}" type="pres">
      <dgm:prSet presAssocID="{20446483-3131-45C6-9B63-8672E75978B6}" presName="node" presStyleLbl="alignAccFollowNode1" presStyleIdx="9" presStyleCnt="25" custScaleX="119879" custScaleY="96675">
        <dgm:presLayoutVars>
          <dgm:bulletEnabled val="1"/>
        </dgm:presLayoutVars>
      </dgm:prSet>
      <dgm:spPr/>
      <dgm:t>
        <a:bodyPr/>
        <a:lstStyle/>
        <a:p>
          <a:endParaRPr lang="nl-NL"/>
        </a:p>
      </dgm:t>
    </dgm:pt>
    <dgm:pt modelId="{91A9BBBC-E226-44ED-B966-18A36F466E5B}" type="pres">
      <dgm:prSet presAssocID="{22C9BA16-C912-4AB8-B16E-FF797935FE95}" presName="vSp" presStyleCnt="0"/>
      <dgm:spPr/>
      <dgm:t>
        <a:bodyPr/>
        <a:lstStyle/>
        <a:p>
          <a:endParaRPr lang="nl-NL"/>
        </a:p>
      </dgm:t>
    </dgm:pt>
    <dgm:pt modelId="{DAD2B607-B187-469D-B28A-EE687D766071}" type="pres">
      <dgm:prSet presAssocID="{1D0431D3-64B3-4A2A-BC98-318609876B89}" presName="horFlow" presStyleCnt="0"/>
      <dgm:spPr/>
      <dgm:t>
        <a:bodyPr/>
        <a:lstStyle/>
        <a:p>
          <a:endParaRPr lang="nl-NL"/>
        </a:p>
      </dgm:t>
    </dgm:pt>
    <dgm:pt modelId="{AC514612-8832-4B0F-86D0-3200CCE54AE0}" type="pres">
      <dgm:prSet presAssocID="{1D0431D3-64B3-4A2A-BC98-318609876B89}" presName="bigChev" presStyleLbl="node1" presStyleIdx="2" presStyleCnt="5" custScaleX="84206" custScaleY="80240"/>
      <dgm:spPr/>
      <dgm:t>
        <a:bodyPr/>
        <a:lstStyle/>
        <a:p>
          <a:endParaRPr lang="nl-NL"/>
        </a:p>
      </dgm:t>
    </dgm:pt>
    <dgm:pt modelId="{71A396D0-074E-437B-B2EF-A0B34E0BE7F7}" type="pres">
      <dgm:prSet presAssocID="{7BCAD824-9F6C-4E51-8307-99177976A87F}" presName="parTrans" presStyleCnt="0"/>
      <dgm:spPr/>
      <dgm:t>
        <a:bodyPr/>
        <a:lstStyle/>
        <a:p>
          <a:endParaRPr lang="nl-NL"/>
        </a:p>
      </dgm:t>
    </dgm:pt>
    <dgm:pt modelId="{F6BDEFCB-7EF5-4C67-9CC3-C8A5F8837BEC}" type="pres">
      <dgm:prSet presAssocID="{C0C666D5-C6AE-48A4-8BEB-1E0B4423CC7F}" presName="node" presStyleLbl="alignAccFollowNode1" presStyleIdx="10" presStyleCnt="25" custScaleX="119879" custScaleY="96675">
        <dgm:presLayoutVars>
          <dgm:bulletEnabled val="1"/>
        </dgm:presLayoutVars>
      </dgm:prSet>
      <dgm:spPr/>
      <dgm:t>
        <a:bodyPr/>
        <a:lstStyle/>
        <a:p>
          <a:endParaRPr lang="nl-NL"/>
        </a:p>
      </dgm:t>
    </dgm:pt>
    <dgm:pt modelId="{AB380205-9165-48BE-90AF-1D37155F4626}" type="pres">
      <dgm:prSet presAssocID="{DEFB9FE7-85F7-46CA-BCD3-991BFEB6948F}" presName="sibTrans" presStyleCnt="0"/>
      <dgm:spPr/>
      <dgm:t>
        <a:bodyPr/>
        <a:lstStyle/>
        <a:p>
          <a:endParaRPr lang="nl-NL"/>
        </a:p>
      </dgm:t>
    </dgm:pt>
    <dgm:pt modelId="{58186B43-07B2-485C-BAFC-A38A2D2CA252}" type="pres">
      <dgm:prSet presAssocID="{1DD1AC1D-B569-457A-ABD8-ECBDB05C5B6B}" presName="node" presStyleLbl="alignAccFollowNode1" presStyleIdx="11" presStyleCnt="25" custScaleX="119879" custScaleY="96675">
        <dgm:presLayoutVars>
          <dgm:bulletEnabled val="1"/>
        </dgm:presLayoutVars>
      </dgm:prSet>
      <dgm:spPr/>
      <dgm:t>
        <a:bodyPr/>
        <a:lstStyle/>
        <a:p>
          <a:endParaRPr lang="nl-NL"/>
        </a:p>
      </dgm:t>
    </dgm:pt>
    <dgm:pt modelId="{7D78B4A9-2CA2-46A7-9724-90A84F6E3D1B}" type="pres">
      <dgm:prSet presAssocID="{B22F1A8F-FD9D-4176-86A1-F295A23BFA9F}" presName="sibTrans" presStyleCnt="0"/>
      <dgm:spPr/>
      <dgm:t>
        <a:bodyPr/>
        <a:lstStyle/>
        <a:p>
          <a:endParaRPr lang="nl-NL"/>
        </a:p>
      </dgm:t>
    </dgm:pt>
    <dgm:pt modelId="{0147A711-EAE7-444C-88B2-0E0CB88E6274}" type="pres">
      <dgm:prSet presAssocID="{4E20D29C-B6C9-440B-AFF3-AEF13A3A4C36}" presName="node" presStyleLbl="alignAccFollowNode1" presStyleIdx="12" presStyleCnt="25" custScaleX="119879" custScaleY="96675">
        <dgm:presLayoutVars>
          <dgm:bulletEnabled val="1"/>
        </dgm:presLayoutVars>
      </dgm:prSet>
      <dgm:spPr/>
      <dgm:t>
        <a:bodyPr/>
        <a:lstStyle/>
        <a:p>
          <a:endParaRPr lang="nl-NL"/>
        </a:p>
      </dgm:t>
    </dgm:pt>
    <dgm:pt modelId="{83242370-A8A0-49D9-8F01-B0DBCCE9E329}" type="pres">
      <dgm:prSet presAssocID="{18736C93-2A1D-4F22-8952-5A44ED9B99A1}" presName="sibTrans" presStyleCnt="0"/>
      <dgm:spPr/>
      <dgm:t>
        <a:bodyPr/>
        <a:lstStyle/>
        <a:p>
          <a:endParaRPr lang="nl-NL"/>
        </a:p>
      </dgm:t>
    </dgm:pt>
    <dgm:pt modelId="{9FA528D7-26AC-4E04-B14F-E0155359DB2B}" type="pres">
      <dgm:prSet presAssocID="{AA8DBEC3-5730-473F-B244-820415D3B97D}" presName="node" presStyleLbl="alignAccFollowNode1" presStyleIdx="13" presStyleCnt="25" custScaleX="119879" custScaleY="96675">
        <dgm:presLayoutVars>
          <dgm:bulletEnabled val="1"/>
        </dgm:presLayoutVars>
      </dgm:prSet>
      <dgm:spPr/>
      <dgm:t>
        <a:bodyPr/>
        <a:lstStyle/>
        <a:p>
          <a:endParaRPr lang="nl-NL"/>
        </a:p>
      </dgm:t>
    </dgm:pt>
    <dgm:pt modelId="{830719E3-B039-41C3-82E1-9E3518710380}" type="pres">
      <dgm:prSet presAssocID="{016D74AE-0885-463A-8830-0E4EE253A780}" presName="sibTrans" presStyleCnt="0"/>
      <dgm:spPr/>
      <dgm:t>
        <a:bodyPr/>
        <a:lstStyle/>
        <a:p>
          <a:endParaRPr lang="nl-NL"/>
        </a:p>
      </dgm:t>
    </dgm:pt>
    <dgm:pt modelId="{6E216FF8-2780-4ABE-969B-CDD8F6583DDC}" type="pres">
      <dgm:prSet presAssocID="{6CE1A86C-5E74-4ADB-95CE-83D1024B8A1B}" presName="node" presStyleLbl="alignAccFollowNode1" presStyleIdx="14" presStyleCnt="25" custScaleX="119879" custScaleY="96675">
        <dgm:presLayoutVars>
          <dgm:bulletEnabled val="1"/>
        </dgm:presLayoutVars>
      </dgm:prSet>
      <dgm:spPr/>
      <dgm:t>
        <a:bodyPr/>
        <a:lstStyle/>
        <a:p>
          <a:endParaRPr lang="nl-NL"/>
        </a:p>
      </dgm:t>
    </dgm:pt>
    <dgm:pt modelId="{8666EA12-234D-4CB4-8E75-0C81F718C0A9}" type="pres">
      <dgm:prSet presAssocID="{1D0431D3-64B3-4A2A-BC98-318609876B89}" presName="vSp" presStyleCnt="0"/>
      <dgm:spPr/>
      <dgm:t>
        <a:bodyPr/>
        <a:lstStyle/>
        <a:p>
          <a:endParaRPr lang="nl-NL"/>
        </a:p>
      </dgm:t>
    </dgm:pt>
    <dgm:pt modelId="{796B9B0D-116E-4086-8A01-98631B908ABA}" type="pres">
      <dgm:prSet presAssocID="{200D83AC-C5D0-41BA-811A-B3A51FAD78B6}" presName="horFlow" presStyleCnt="0"/>
      <dgm:spPr/>
      <dgm:t>
        <a:bodyPr/>
        <a:lstStyle/>
        <a:p>
          <a:endParaRPr lang="nl-NL"/>
        </a:p>
      </dgm:t>
    </dgm:pt>
    <dgm:pt modelId="{485A7BA8-4B01-4F03-9FEA-3F36F66E18BF}" type="pres">
      <dgm:prSet presAssocID="{200D83AC-C5D0-41BA-811A-B3A51FAD78B6}" presName="bigChev" presStyleLbl="node1" presStyleIdx="3" presStyleCnt="5" custScaleX="78696" custScaleY="80240"/>
      <dgm:spPr/>
      <dgm:t>
        <a:bodyPr/>
        <a:lstStyle/>
        <a:p>
          <a:endParaRPr lang="nl-NL"/>
        </a:p>
      </dgm:t>
    </dgm:pt>
    <dgm:pt modelId="{65F788A3-EE83-41DF-A709-64EE73BE60F6}" type="pres">
      <dgm:prSet presAssocID="{ADF28917-8CFC-4DCB-80E7-A3EC58D1442A}" presName="parTrans" presStyleCnt="0"/>
      <dgm:spPr/>
      <dgm:t>
        <a:bodyPr/>
        <a:lstStyle/>
        <a:p>
          <a:endParaRPr lang="nl-NL"/>
        </a:p>
      </dgm:t>
    </dgm:pt>
    <dgm:pt modelId="{A21599CC-FDF9-4BEE-94FB-C6E87C0708EC}" type="pres">
      <dgm:prSet presAssocID="{ABACAD75-007F-486F-83CA-EC41F3F0DDD7}" presName="node" presStyleLbl="alignAccFollowNode1" presStyleIdx="15" presStyleCnt="25" custScaleX="112856" custScaleY="96675" custLinFactNeighborX="11143">
        <dgm:presLayoutVars>
          <dgm:bulletEnabled val="1"/>
        </dgm:presLayoutVars>
      </dgm:prSet>
      <dgm:spPr/>
      <dgm:t>
        <a:bodyPr/>
        <a:lstStyle/>
        <a:p>
          <a:endParaRPr lang="nl-NL"/>
        </a:p>
      </dgm:t>
    </dgm:pt>
    <dgm:pt modelId="{6CC01132-C12E-49BF-A3EA-59F408C6F93A}" type="pres">
      <dgm:prSet presAssocID="{6EAF9AE8-D9C5-4560-A895-59DC232067EC}" presName="sibTrans" presStyleCnt="0"/>
      <dgm:spPr/>
      <dgm:t>
        <a:bodyPr/>
        <a:lstStyle/>
        <a:p>
          <a:endParaRPr lang="nl-NL"/>
        </a:p>
      </dgm:t>
    </dgm:pt>
    <dgm:pt modelId="{3888236F-2F44-48D5-A5C6-DABD9C06C8CC}" type="pres">
      <dgm:prSet presAssocID="{CB6FAE99-E207-43D6-9909-0E528E6DD096}" presName="node" presStyleLbl="alignAccFollowNode1" presStyleIdx="16" presStyleCnt="25" custScaleX="128762" custScaleY="96675" custLinFactNeighborX="41021" custLinFactNeighborY="2600">
        <dgm:presLayoutVars>
          <dgm:bulletEnabled val="1"/>
        </dgm:presLayoutVars>
      </dgm:prSet>
      <dgm:spPr/>
      <dgm:t>
        <a:bodyPr/>
        <a:lstStyle/>
        <a:p>
          <a:endParaRPr lang="nl-NL"/>
        </a:p>
      </dgm:t>
    </dgm:pt>
    <dgm:pt modelId="{F35A0A9F-9A25-42A6-BF2C-69FEBFB0DB4C}" type="pres">
      <dgm:prSet presAssocID="{0714D0F9-A663-4D80-8200-CDA9FD8B3394}" presName="sibTrans" presStyleCnt="0"/>
      <dgm:spPr/>
      <dgm:t>
        <a:bodyPr/>
        <a:lstStyle/>
        <a:p>
          <a:endParaRPr lang="nl-NL"/>
        </a:p>
      </dgm:t>
    </dgm:pt>
    <dgm:pt modelId="{5AF84740-819D-449D-97C7-EAE98E98E081}" type="pres">
      <dgm:prSet presAssocID="{0DDA3729-7A05-4DAF-846F-9BDFA20AE763}" presName="node" presStyleLbl="alignAccFollowNode1" presStyleIdx="17" presStyleCnt="25" custScaleX="112952" custScaleY="96675" custLinFactNeighborX="70566">
        <dgm:presLayoutVars>
          <dgm:bulletEnabled val="1"/>
        </dgm:presLayoutVars>
      </dgm:prSet>
      <dgm:spPr/>
      <dgm:t>
        <a:bodyPr/>
        <a:lstStyle/>
        <a:p>
          <a:endParaRPr lang="nl-NL"/>
        </a:p>
      </dgm:t>
    </dgm:pt>
    <dgm:pt modelId="{40EE262A-49C7-4269-8DC6-FD31818ED9BF}" type="pres">
      <dgm:prSet presAssocID="{C8F776BB-5F51-48E7-828C-55F3903B918E}" presName="sibTrans" presStyleCnt="0"/>
      <dgm:spPr/>
      <dgm:t>
        <a:bodyPr/>
        <a:lstStyle/>
        <a:p>
          <a:endParaRPr lang="nl-NL"/>
        </a:p>
      </dgm:t>
    </dgm:pt>
    <dgm:pt modelId="{6D5874A7-055E-4F9A-B66C-41C76E99E891}" type="pres">
      <dgm:prSet presAssocID="{CF01FD37-5215-4548-BE2B-78D055A4E21C}" presName="node" presStyleLbl="alignAccFollowNode1" presStyleIdx="18" presStyleCnt="25" custScaleX="112019" custScaleY="96675" custLinFactX="621" custLinFactNeighborX="100000" custLinFactNeighborY="3901">
        <dgm:presLayoutVars>
          <dgm:bulletEnabled val="1"/>
        </dgm:presLayoutVars>
      </dgm:prSet>
      <dgm:spPr/>
      <dgm:t>
        <a:bodyPr/>
        <a:lstStyle/>
        <a:p>
          <a:endParaRPr lang="nl-NL"/>
        </a:p>
      </dgm:t>
    </dgm:pt>
    <dgm:pt modelId="{49696669-8187-4215-A384-B41ED3E76D10}" type="pres">
      <dgm:prSet presAssocID="{F0D003A9-21FE-4089-A0BD-5D597502A6A9}" presName="sibTrans" presStyleCnt="0"/>
      <dgm:spPr/>
      <dgm:t>
        <a:bodyPr/>
        <a:lstStyle/>
        <a:p>
          <a:endParaRPr lang="nl-NL"/>
        </a:p>
      </dgm:t>
    </dgm:pt>
    <dgm:pt modelId="{9CC83299-14B0-40DD-9F7A-7FBAE486816D}" type="pres">
      <dgm:prSet presAssocID="{68429C62-D242-4BC3-A936-D3E8773B3F8C}" presName="node" presStyleLbl="alignAccFollowNode1" presStyleIdx="19" presStyleCnt="25" custScaleX="115467" custScaleY="96675" custLinFactX="6224" custLinFactNeighborX="100000" custLinFactNeighborY="1287">
        <dgm:presLayoutVars>
          <dgm:bulletEnabled val="1"/>
        </dgm:presLayoutVars>
      </dgm:prSet>
      <dgm:spPr/>
      <dgm:t>
        <a:bodyPr/>
        <a:lstStyle/>
        <a:p>
          <a:endParaRPr lang="nl-NL"/>
        </a:p>
      </dgm:t>
    </dgm:pt>
    <dgm:pt modelId="{1761FCF1-B633-4053-8B15-63E9AE502833}" type="pres">
      <dgm:prSet presAssocID="{200D83AC-C5D0-41BA-811A-B3A51FAD78B6}" presName="vSp" presStyleCnt="0"/>
      <dgm:spPr/>
      <dgm:t>
        <a:bodyPr/>
        <a:lstStyle/>
        <a:p>
          <a:endParaRPr lang="nl-NL"/>
        </a:p>
      </dgm:t>
    </dgm:pt>
    <dgm:pt modelId="{0D0AE263-B1EA-44DD-9FE2-9CAC606D6FC5}" type="pres">
      <dgm:prSet presAssocID="{23193460-2B00-4BBA-B2EF-55CC2B44251D}" presName="horFlow" presStyleCnt="0"/>
      <dgm:spPr/>
      <dgm:t>
        <a:bodyPr/>
        <a:lstStyle/>
        <a:p>
          <a:endParaRPr lang="nl-NL"/>
        </a:p>
      </dgm:t>
    </dgm:pt>
    <dgm:pt modelId="{01295B02-5629-4790-BB4D-A7650C590746}" type="pres">
      <dgm:prSet presAssocID="{23193460-2B00-4BBA-B2EF-55CC2B44251D}" presName="bigChev" presStyleLbl="node1" presStyleIdx="4" presStyleCnt="5" custScaleX="84206" custScaleY="80240"/>
      <dgm:spPr/>
      <dgm:t>
        <a:bodyPr/>
        <a:lstStyle/>
        <a:p>
          <a:endParaRPr lang="nl-NL"/>
        </a:p>
      </dgm:t>
    </dgm:pt>
    <dgm:pt modelId="{A75BC414-AEA6-434B-B674-287E649E0B5D}" type="pres">
      <dgm:prSet presAssocID="{142C46B5-687D-479B-9E79-40DA7F5DEF44}" presName="parTrans" presStyleCnt="0"/>
      <dgm:spPr/>
      <dgm:t>
        <a:bodyPr/>
        <a:lstStyle/>
        <a:p>
          <a:endParaRPr lang="nl-NL"/>
        </a:p>
      </dgm:t>
    </dgm:pt>
    <dgm:pt modelId="{6EF753EC-17CD-46A6-81D5-6C737C6C4D8F}" type="pres">
      <dgm:prSet presAssocID="{1CEA679C-96CA-460E-AC4E-1582F3BE9109}" presName="node" presStyleLbl="alignAccFollowNode1" presStyleIdx="20" presStyleCnt="25" custScaleX="108378" custScaleY="96675">
        <dgm:presLayoutVars>
          <dgm:bulletEnabled val="1"/>
        </dgm:presLayoutVars>
      </dgm:prSet>
      <dgm:spPr/>
      <dgm:t>
        <a:bodyPr/>
        <a:lstStyle/>
        <a:p>
          <a:endParaRPr lang="nl-NL"/>
        </a:p>
      </dgm:t>
    </dgm:pt>
    <dgm:pt modelId="{F90259C5-94CE-4646-9BBB-9D77BAFCC246}" type="pres">
      <dgm:prSet presAssocID="{6F495585-C16D-46B3-BD6D-CD5560F9DB86}" presName="sibTrans" presStyleCnt="0"/>
      <dgm:spPr/>
      <dgm:t>
        <a:bodyPr/>
        <a:lstStyle/>
        <a:p>
          <a:endParaRPr lang="nl-NL"/>
        </a:p>
      </dgm:t>
    </dgm:pt>
    <dgm:pt modelId="{63D44174-705A-471D-8957-98F128C02313}" type="pres">
      <dgm:prSet presAssocID="{9A17E9D9-E8F2-4A3D-B3C2-0BF77FF6D42E}" presName="node" presStyleLbl="alignAccFollowNode1" presStyleIdx="21" presStyleCnt="25" custScaleX="119879" custScaleY="96675">
        <dgm:presLayoutVars>
          <dgm:bulletEnabled val="1"/>
        </dgm:presLayoutVars>
      </dgm:prSet>
      <dgm:spPr/>
      <dgm:t>
        <a:bodyPr/>
        <a:lstStyle/>
        <a:p>
          <a:endParaRPr lang="nl-NL"/>
        </a:p>
      </dgm:t>
    </dgm:pt>
    <dgm:pt modelId="{F97E5AF9-947E-4CC6-9073-F777788D2625}" type="pres">
      <dgm:prSet presAssocID="{E69B4927-D436-46DC-B02B-BBE2B2FB337F}" presName="sibTrans" presStyleCnt="0"/>
      <dgm:spPr/>
      <dgm:t>
        <a:bodyPr/>
        <a:lstStyle/>
        <a:p>
          <a:endParaRPr lang="nl-NL"/>
        </a:p>
      </dgm:t>
    </dgm:pt>
    <dgm:pt modelId="{A7989C51-1EF4-4500-81D6-6D719DDD68D0}" type="pres">
      <dgm:prSet presAssocID="{7EDDC5A2-9A6F-4101-B5CB-77EDED0EB09F}" presName="node" presStyleLbl="alignAccFollowNode1" presStyleIdx="22" presStyleCnt="25" custScaleX="119879" custScaleY="96675">
        <dgm:presLayoutVars>
          <dgm:bulletEnabled val="1"/>
        </dgm:presLayoutVars>
      </dgm:prSet>
      <dgm:spPr/>
      <dgm:t>
        <a:bodyPr/>
        <a:lstStyle/>
        <a:p>
          <a:endParaRPr lang="nl-NL"/>
        </a:p>
      </dgm:t>
    </dgm:pt>
    <dgm:pt modelId="{49AEC048-1AAE-4592-9445-E9DFA3B4AE30}" type="pres">
      <dgm:prSet presAssocID="{6F48EEA3-B2B6-4574-A8AF-5F75DE2E1693}" presName="sibTrans" presStyleCnt="0"/>
      <dgm:spPr/>
      <dgm:t>
        <a:bodyPr/>
        <a:lstStyle/>
        <a:p>
          <a:endParaRPr lang="nl-NL"/>
        </a:p>
      </dgm:t>
    </dgm:pt>
    <dgm:pt modelId="{A13861A0-3C4D-407A-AD33-595EDBF2F097}" type="pres">
      <dgm:prSet presAssocID="{66E39E7D-DC2E-4284-993D-AFD4E5E98986}" presName="node" presStyleLbl="alignAccFollowNode1" presStyleIdx="23" presStyleCnt="25" custScaleX="119879" custScaleY="96675">
        <dgm:presLayoutVars>
          <dgm:bulletEnabled val="1"/>
        </dgm:presLayoutVars>
      </dgm:prSet>
      <dgm:spPr/>
      <dgm:t>
        <a:bodyPr/>
        <a:lstStyle/>
        <a:p>
          <a:endParaRPr lang="nl-NL"/>
        </a:p>
      </dgm:t>
    </dgm:pt>
    <dgm:pt modelId="{4A81BF62-7FD5-4E20-9909-F9C72ED58289}" type="pres">
      <dgm:prSet presAssocID="{57835AF8-C1FC-4BCA-8913-7836892EA37D}" presName="sibTrans" presStyleCnt="0"/>
      <dgm:spPr/>
      <dgm:t>
        <a:bodyPr/>
        <a:lstStyle/>
        <a:p>
          <a:endParaRPr lang="nl-NL"/>
        </a:p>
      </dgm:t>
    </dgm:pt>
    <dgm:pt modelId="{0EE2C3EC-54D5-48DD-BB5E-1E84B5C6767E}" type="pres">
      <dgm:prSet presAssocID="{82B4419E-EA02-41F8-8851-D338BCF00BF0}" presName="node" presStyleLbl="alignAccFollowNode1" presStyleIdx="24" presStyleCnt="25" custScaleX="119837" custScaleY="96675">
        <dgm:presLayoutVars>
          <dgm:bulletEnabled val="1"/>
        </dgm:presLayoutVars>
      </dgm:prSet>
      <dgm:spPr/>
      <dgm:t>
        <a:bodyPr/>
        <a:lstStyle/>
        <a:p>
          <a:endParaRPr lang="nl-NL"/>
        </a:p>
      </dgm:t>
    </dgm:pt>
  </dgm:ptLst>
  <dgm:cxnLst>
    <dgm:cxn modelId="{4988C696-48F1-48F7-98A1-DCAFA121FE0C}" type="presOf" srcId="{ABACAD75-007F-486F-83CA-EC41F3F0DDD7}" destId="{A21599CC-FDF9-4BEE-94FB-C6E87C0708EC}" srcOrd="0" destOrd="0" presId="urn:microsoft.com/office/officeart/2005/8/layout/lProcess3"/>
    <dgm:cxn modelId="{5C8C9688-845D-407B-8262-856083BB8B02}" srcId="{22C9BA16-C912-4AB8-B16E-FF797935FE95}" destId="{746BBA83-FC51-4B44-8C3D-F93ACED5A830}" srcOrd="3" destOrd="0" parTransId="{43D31E03-9F7F-4CDB-BA1E-5B60E76E75A0}" sibTransId="{645A86AD-7CFE-406C-A490-80E89BBD3A4A}"/>
    <dgm:cxn modelId="{1E19AF31-A63C-4F46-B482-F715C1BB40D5}" srcId="{23193460-2B00-4BBA-B2EF-55CC2B44251D}" destId="{82B4419E-EA02-41F8-8851-D338BCF00BF0}" srcOrd="4" destOrd="0" parTransId="{7A7B7C56-B4C7-4671-B013-0CA3A660B3FD}" sibTransId="{90965BCE-1684-471D-AE9E-22ADC4D55E40}"/>
    <dgm:cxn modelId="{C244C082-4F01-4C68-ACB6-0E8FA3198B3E}" srcId="{A4C25754-AF2E-445A-B1C4-208C361E3027}" destId="{22C9BA16-C912-4AB8-B16E-FF797935FE95}" srcOrd="1" destOrd="0" parTransId="{93B98DF1-7871-4E1C-BCA9-B7D1E46536EC}" sibTransId="{92090AD9-6C79-48EC-9401-F0B181673841}"/>
    <dgm:cxn modelId="{BC9DE52F-0BB5-4ACB-9274-779AEBE21803}" srcId="{22C9BA16-C912-4AB8-B16E-FF797935FE95}" destId="{1C057D00-7046-4C92-8845-E659397CD6FE}" srcOrd="1" destOrd="0" parTransId="{5CCF2DFA-AA14-4223-93C4-29A2BEE342FE}" sibTransId="{9F92A93D-431C-4D58-AC15-E971BD7417E8}"/>
    <dgm:cxn modelId="{3BB2DC6F-AEAE-401D-A71C-27E6D32EC4FB}" srcId="{1D0431D3-64B3-4A2A-BC98-318609876B89}" destId="{C0C666D5-C6AE-48A4-8BEB-1E0B4423CC7F}" srcOrd="0" destOrd="0" parTransId="{7BCAD824-9F6C-4E51-8307-99177976A87F}" sibTransId="{DEFB9FE7-85F7-46CA-BCD3-991BFEB6948F}"/>
    <dgm:cxn modelId="{5B51B856-66F6-41DE-82D6-D9DAD4791020}" type="presOf" srcId="{66E39E7D-DC2E-4284-993D-AFD4E5E98986}" destId="{A13861A0-3C4D-407A-AD33-595EDBF2F097}" srcOrd="0" destOrd="0" presId="urn:microsoft.com/office/officeart/2005/8/layout/lProcess3"/>
    <dgm:cxn modelId="{9B937BAE-08F9-42AE-AC98-6AD3DC9FA8CB}" srcId="{A4C25754-AF2E-445A-B1C4-208C361E3027}" destId="{23193460-2B00-4BBA-B2EF-55CC2B44251D}" srcOrd="4" destOrd="0" parTransId="{9039EAD3-CDDB-4CC8-A3AF-7A425DFF7FAF}" sibTransId="{B40E2452-A66F-4500-9BFD-26EFE8F1C46C}"/>
    <dgm:cxn modelId="{C94B2CA1-3476-4E29-8D69-CB27642C1C34}" type="presOf" srcId="{23193460-2B00-4BBA-B2EF-55CC2B44251D}" destId="{01295B02-5629-4790-BB4D-A7650C590746}" srcOrd="0" destOrd="0" presId="urn:microsoft.com/office/officeart/2005/8/layout/lProcess3"/>
    <dgm:cxn modelId="{C12D5F15-CE74-4E56-ADAA-04E1C0542A81}" type="presOf" srcId="{1F00858C-756E-438F-ACFC-655C02058CEA}" destId="{6F58A52D-AFF9-49F5-8538-1AB9A54C1571}" srcOrd="0" destOrd="0" presId="urn:microsoft.com/office/officeart/2005/8/layout/lProcess3"/>
    <dgm:cxn modelId="{404349EA-FCFB-4F3A-A6D3-4DA211175043}" type="presOf" srcId="{4E20D29C-B6C9-440B-AFF3-AEF13A3A4C36}" destId="{0147A711-EAE7-444C-88B2-0E0CB88E6274}" srcOrd="0" destOrd="0" presId="urn:microsoft.com/office/officeart/2005/8/layout/lProcess3"/>
    <dgm:cxn modelId="{1116DFBC-7D5F-4A2B-BE9E-6A035578413B}" type="presOf" srcId="{151429BB-703C-4837-AEAE-FB6E3DE6D505}" destId="{87B307EE-F7E3-478C-99DF-363D7920F82C}" srcOrd="0" destOrd="0" presId="urn:microsoft.com/office/officeart/2005/8/layout/lProcess3"/>
    <dgm:cxn modelId="{2E0C661D-5876-4891-8715-D4BCE084F72C}" type="presOf" srcId="{CB6FAE99-E207-43D6-9909-0E528E6DD096}" destId="{3888236F-2F44-48D5-A5C6-DABD9C06C8CC}" srcOrd="0" destOrd="0" presId="urn:microsoft.com/office/officeart/2005/8/layout/lProcess3"/>
    <dgm:cxn modelId="{F24AD269-740D-45CE-AD69-40BA6F3127DE}" srcId="{200D83AC-C5D0-41BA-811A-B3A51FAD78B6}" destId="{CB6FAE99-E207-43D6-9909-0E528E6DD096}" srcOrd="1" destOrd="0" parTransId="{850A43FF-6EA5-4E42-AE16-75253B1F495C}" sibTransId="{0714D0F9-A663-4D80-8200-CDA9FD8B3394}"/>
    <dgm:cxn modelId="{A32DB05A-8FEF-47BE-805D-40B46CA34140}" srcId="{200D83AC-C5D0-41BA-811A-B3A51FAD78B6}" destId="{CF01FD37-5215-4548-BE2B-78D055A4E21C}" srcOrd="3" destOrd="0" parTransId="{4A5B2C15-00E8-40AB-8A4F-E88B3CA0C16A}" sibTransId="{F0D003A9-21FE-4089-A0BD-5D597502A6A9}"/>
    <dgm:cxn modelId="{8F30F11D-E87C-429F-A3B7-14360FA410AD}" srcId="{22C9BA16-C912-4AB8-B16E-FF797935FE95}" destId="{151429BB-703C-4837-AEAE-FB6E3DE6D505}" srcOrd="2" destOrd="0" parTransId="{CE2A0741-45C2-4BEA-BD64-023BC7622332}" sibTransId="{31B627E5-D5DC-4932-8CC6-E7930B6676D9}"/>
    <dgm:cxn modelId="{F8AAB52A-6186-4C93-B541-DC7BA1FD4D69}" type="presOf" srcId="{68429C62-D242-4BC3-A936-D3E8773B3F8C}" destId="{9CC83299-14B0-40DD-9F7A-7FBAE486816D}" srcOrd="0" destOrd="0" presId="urn:microsoft.com/office/officeart/2005/8/layout/lProcess3"/>
    <dgm:cxn modelId="{A19ED3F0-D3F5-4544-A864-F0CB4CCF69B9}" srcId="{1D0431D3-64B3-4A2A-BC98-318609876B89}" destId="{AA8DBEC3-5730-473F-B244-820415D3B97D}" srcOrd="3" destOrd="0" parTransId="{FF21C5BA-C31C-4EE9-8435-9F3E74196BB2}" sibTransId="{016D74AE-0885-463A-8830-0E4EE253A780}"/>
    <dgm:cxn modelId="{7B088858-B74C-43E2-9BE5-068D5D9E1AEB}" srcId="{23193460-2B00-4BBA-B2EF-55CC2B44251D}" destId="{66E39E7D-DC2E-4284-993D-AFD4E5E98986}" srcOrd="3" destOrd="0" parTransId="{D2917CAC-F82A-46EF-A20B-2F4A2F94E9FF}" sibTransId="{57835AF8-C1FC-4BCA-8913-7836892EA37D}"/>
    <dgm:cxn modelId="{20329975-211D-4A3A-8C0F-DD54C84AD3BD}" srcId="{1D0431D3-64B3-4A2A-BC98-318609876B89}" destId="{4E20D29C-B6C9-440B-AFF3-AEF13A3A4C36}" srcOrd="2" destOrd="0" parTransId="{0AC3526D-14AD-4864-BC54-CA2EC525943F}" sibTransId="{18736C93-2A1D-4F22-8952-5A44ED9B99A1}"/>
    <dgm:cxn modelId="{03C42A38-BDB9-4D6B-A478-6FFCEEADCCBC}" srcId="{1D0431D3-64B3-4A2A-BC98-318609876B89}" destId="{1DD1AC1D-B569-457A-ABD8-ECBDB05C5B6B}" srcOrd="1" destOrd="0" parTransId="{E1011E1B-B118-4875-B78A-2BFFE230438F}" sibTransId="{B22F1A8F-FD9D-4176-86A1-F295A23BFA9F}"/>
    <dgm:cxn modelId="{5361ADCC-84BD-4993-85CF-74B06F5D06D1}" type="presOf" srcId="{22C9BA16-C912-4AB8-B16E-FF797935FE95}" destId="{45A1425D-2946-43E1-B1EC-77043B192449}" srcOrd="0" destOrd="0" presId="urn:microsoft.com/office/officeart/2005/8/layout/lProcess3"/>
    <dgm:cxn modelId="{07F00F9A-25EB-48AC-9AB9-F7A1B8DE7412}" type="presOf" srcId="{746BBA83-FC51-4B44-8C3D-F93ACED5A830}" destId="{CED8139D-1618-489C-91A6-6B435D2A051E}" srcOrd="0" destOrd="0" presId="urn:microsoft.com/office/officeart/2005/8/layout/lProcess3"/>
    <dgm:cxn modelId="{3404E993-9AF5-4AC8-A850-E56B79A05D44}" type="presOf" srcId="{1CEA679C-96CA-460E-AC4E-1582F3BE9109}" destId="{6EF753EC-17CD-46A6-81D5-6C737C6C4D8F}" srcOrd="0" destOrd="0" presId="urn:microsoft.com/office/officeart/2005/8/layout/lProcess3"/>
    <dgm:cxn modelId="{988CBE00-9744-4A6E-8BD8-86272E3F764E}" type="presOf" srcId="{1D0431D3-64B3-4A2A-BC98-318609876B89}" destId="{AC514612-8832-4B0F-86D0-3200CCE54AE0}" srcOrd="0" destOrd="0" presId="urn:microsoft.com/office/officeart/2005/8/layout/lProcess3"/>
    <dgm:cxn modelId="{54C95902-4685-4EE1-9B3F-CB0F6B943545}" srcId="{200D83AC-C5D0-41BA-811A-B3A51FAD78B6}" destId="{0DDA3729-7A05-4DAF-846F-9BDFA20AE763}" srcOrd="2" destOrd="0" parTransId="{0DCAD51C-6F29-40BF-9229-21BCA7B26244}" sibTransId="{C8F776BB-5F51-48E7-828C-55F3903B918E}"/>
    <dgm:cxn modelId="{41A7473E-0FAD-4341-A72C-25CA87F1ADE8}" srcId="{647DD7A5-0012-436B-BAB9-BDE52DC25B90}" destId="{0EEE7DE5-2B00-458B-BCAB-CB504BAD12E7}" srcOrd="2" destOrd="0" parTransId="{BE541403-E310-4737-9C4F-EFF537A3BC21}" sibTransId="{9F4A5B04-0051-4F5D-9849-79FF15B78EF0}"/>
    <dgm:cxn modelId="{33F43A8A-3CC8-4334-8714-CB475542533B}" type="presOf" srcId="{6CE1A86C-5E74-4ADB-95CE-83D1024B8A1B}" destId="{6E216FF8-2780-4ABE-969B-CDD8F6583DDC}" srcOrd="0" destOrd="0" presId="urn:microsoft.com/office/officeart/2005/8/layout/lProcess3"/>
    <dgm:cxn modelId="{F875A6EA-D09C-4FBB-A92C-73C0BA23DBA0}" type="presOf" srcId="{20446483-3131-45C6-9B63-8672E75978B6}" destId="{76A59E32-1369-43F3-BA20-12EAEE339E49}" srcOrd="0" destOrd="0" presId="urn:microsoft.com/office/officeart/2005/8/layout/lProcess3"/>
    <dgm:cxn modelId="{7BFCD170-6D7A-4815-B43E-FC0D2CF65DDA}" srcId="{23193460-2B00-4BBA-B2EF-55CC2B44251D}" destId="{9A17E9D9-E8F2-4A3D-B3C2-0BF77FF6D42E}" srcOrd="1" destOrd="0" parTransId="{1E3B8620-2598-4AD1-B142-4BF992FCC7D5}" sibTransId="{E69B4927-D436-46DC-B02B-BBE2B2FB337F}"/>
    <dgm:cxn modelId="{FD555119-81B7-423C-9055-58EC56CBFE23}" type="presOf" srcId="{9A17E9D9-E8F2-4A3D-B3C2-0BF77FF6D42E}" destId="{63D44174-705A-471D-8957-98F128C02313}" srcOrd="0" destOrd="0" presId="urn:microsoft.com/office/officeart/2005/8/layout/lProcess3"/>
    <dgm:cxn modelId="{2A2E27CB-E7B7-4EBC-BE45-1A0413F68694}" type="presOf" srcId="{0EEE7DE5-2B00-458B-BCAB-CB504BAD12E7}" destId="{7BCA09AF-73D2-4619-A7A7-F58A620080A0}" srcOrd="0" destOrd="0" presId="urn:microsoft.com/office/officeart/2005/8/layout/lProcess3"/>
    <dgm:cxn modelId="{FF888F5F-DB76-4362-9E36-8483708879BB}" srcId="{23193460-2B00-4BBA-B2EF-55CC2B44251D}" destId="{1CEA679C-96CA-460E-AC4E-1582F3BE9109}" srcOrd="0" destOrd="0" parTransId="{142C46B5-687D-479B-9E79-40DA7F5DEF44}" sibTransId="{6F495585-C16D-46B3-BD6D-CD5560F9DB86}"/>
    <dgm:cxn modelId="{514C613D-60A0-4643-BBC0-BE8471FD5547}" type="presOf" srcId="{A4C25754-AF2E-445A-B1C4-208C361E3027}" destId="{1DE78E1A-287A-4644-911E-2C3E7FDD395B}" srcOrd="0" destOrd="0" presId="urn:microsoft.com/office/officeart/2005/8/layout/lProcess3"/>
    <dgm:cxn modelId="{51AB0B94-82E4-43E9-8949-985CC568556A}" type="presOf" srcId="{C0C666D5-C6AE-48A4-8BEB-1E0B4423CC7F}" destId="{F6BDEFCB-7EF5-4C67-9CC3-C8A5F8837BEC}" srcOrd="0" destOrd="0" presId="urn:microsoft.com/office/officeart/2005/8/layout/lProcess3"/>
    <dgm:cxn modelId="{3F8CF7C8-6210-42A5-8DA3-FA0302C8434A}" srcId="{A4C25754-AF2E-445A-B1C4-208C361E3027}" destId="{647DD7A5-0012-436B-BAB9-BDE52DC25B90}" srcOrd="0" destOrd="0" parTransId="{3AB16B59-D0CB-483E-BCBC-D5B2E737CB7D}" sibTransId="{706A9391-DCC8-4EEB-A18D-BE55B315846C}"/>
    <dgm:cxn modelId="{80260B3B-B79C-46B4-97AA-A804C2A3920E}" srcId="{647DD7A5-0012-436B-BAB9-BDE52DC25B90}" destId="{545954EC-4953-467F-8E27-933BAB5A8E05}" srcOrd="1" destOrd="0" parTransId="{E031E22B-55B8-4FED-A7B2-47054E3D78C2}" sibTransId="{3195B29B-0B9A-47B3-B2F4-4FDC8876F8E7}"/>
    <dgm:cxn modelId="{923346B1-9E30-45E4-A776-A7F34E1C5B58}" type="presOf" srcId="{200D83AC-C5D0-41BA-811A-B3A51FAD78B6}" destId="{485A7BA8-4B01-4F03-9FEA-3F36F66E18BF}" srcOrd="0" destOrd="0" presId="urn:microsoft.com/office/officeart/2005/8/layout/lProcess3"/>
    <dgm:cxn modelId="{20E0196F-EDD9-474A-9FAF-DF8543639C6C}" srcId="{1D0431D3-64B3-4A2A-BC98-318609876B89}" destId="{6CE1A86C-5E74-4ADB-95CE-83D1024B8A1B}" srcOrd="4" destOrd="0" parTransId="{E68E1A5A-6E88-458A-8CB9-F2B234C35568}" sibTransId="{CCAC4F14-E3B3-4CA3-9BF7-C73D5E00EE32}"/>
    <dgm:cxn modelId="{D65ABC08-8E9F-48FB-9C91-F5256B3DDC67}" srcId="{647DD7A5-0012-436B-BAB9-BDE52DC25B90}" destId="{6D8F2393-DBD3-466D-BB9D-AE10062D1E45}" srcOrd="0" destOrd="0" parTransId="{583416F9-FBC6-4C82-8614-951CEE12CD70}" sibTransId="{03DE5228-1E63-4C54-9AE4-3B883B2F1DBA}"/>
    <dgm:cxn modelId="{ED905CA8-78C4-4B26-B4F3-FBE3111ED1C6}" srcId="{22C9BA16-C912-4AB8-B16E-FF797935FE95}" destId="{17FA8828-52A2-4AF5-B391-AB85135831D1}" srcOrd="0" destOrd="0" parTransId="{7C76C83D-CE5B-4D7C-AD83-B4E39CEEF00A}" sibTransId="{5831FBD0-5DF6-4737-9D40-31BD670C5784}"/>
    <dgm:cxn modelId="{3BE95EA7-A23F-46CF-9AE2-A7847100C1D1}" srcId="{200D83AC-C5D0-41BA-811A-B3A51FAD78B6}" destId="{ABACAD75-007F-486F-83CA-EC41F3F0DDD7}" srcOrd="0" destOrd="0" parTransId="{ADF28917-8CFC-4DCB-80E7-A3EC58D1442A}" sibTransId="{6EAF9AE8-D9C5-4560-A895-59DC232067EC}"/>
    <dgm:cxn modelId="{20AAE980-8092-4326-A197-C1C565AB19AA}" type="presOf" srcId="{17FA8828-52A2-4AF5-B391-AB85135831D1}" destId="{050DB05E-783F-4CCF-9747-F95A7E32D478}" srcOrd="0" destOrd="0" presId="urn:microsoft.com/office/officeart/2005/8/layout/lProcess3"/>
    <dgm:cxn modelId="{EC06577F-9572-4923-825E-652125A51976}" type="presOf" srcId="{1DD1AC1D-B569-457A-ABD8-ECBDB05C5B6B}" destId="{58186B43-07B2-485C-BAFC-A38A2D2CA252}" srcOrd="0" destOrd="0" presId="urn:microsoft.com/office/officeart/2005/8/layout/lProcess3"/>
    <dgm:cxn modelId="{CA0D4426-5DC5-4E15-8CD4-69B9B9213E44}" srcId="{A4C25754-AF2E-445A-B1C4-208C361E3027}" destId="{1D0431D3-64B3-4A2A-BC98-318609876B89}" srcOrd="2" destOrd="0" parTransId="{8F056A3C-46EE-4105-96AC-805B07284C64}" sibTransId="{8B27C768-6F47-4415-9EAC-93F37110362D}"/>
    <dgm:cxn modelId="{51E55581-CECD-4AF7-BC46-2293C2202678}" type="presOf" srcId="{AA8DBEC3-5730-473F-B244-820415D3B97D}" destId="{9FA528D7-26AC-4E04-B14F-E0155359DB2B}" srcOrd="0" destOrd="0" presId="urn:microsoft.com/office/officeart/2005/8/layout/lProcess3"/>
    <dgm:cxn modelId="{671CB356-F728-45FA-9613-8893B0EB7710}" type="presOf" srcId="{1C057D00-7046-4C92-8845-E659397CD6FE}" destId="{EE523708-1E1B-4AAA-A918-8F0DB46124F9}" srcOrd="0" destOrd="0" presId="urn:microsoft.com/office/officeart/2005/8/layout/lProcess3"/>
    <dgm:cxn modelId="{2E6CD061-5211-49EC-9292-53AC3A9AD1E4}" srcId="{647DD7A5-0012-436B-BAB9-BDE52DC25B90}" destId="{2B87F55F-3DDA-4DB8-85DC-69C630658C4A}" srcOrd="4" destOrd="0" parTransId="{E458CF27-D025-4F7B-B018-63E3837B169F}" sibTransId="{DE6A453F-2629-4B65-903F-D41D3D5F3A92}"/>
    <dgm:cxn modelId="{6AC51181-18CA-4071-8671-E723CB2F83E3}" srcId="{22C9BA16-C912-4AB8-B16E-FF797935FE95}" destId="{20446483-3131-45C6-9B63-8672E75978B6}" srcOrd="4" destOrd="0" parTransId="{C592FC82-2CCB-41D1-AB19-C1027B3220DC}" sibTransId="{744972D6-F7F9-4325-9F4B-A70060987F27}"/>
    <dgm:cxn modelId="{9AEC6FC0-CD11-49B0-9940-4D10A3FE7DFB}" type="presOf" srcId="{7EDDC5A2-9A6F-4101-B5CB-77EDED0EB09F}" destId="{A7989C51-1EF4-4500-81D6-6D719DDD68D0}" srcOrd="0" destOrd="0" presId="urn:microsoft.com/office/officeart/2005/8/layout/lProcess3"/>
    <dgm:cxn modelId="{52100F12-BE81-40CD-A68F-E3FA558C44E7}" type="presOf" srcId="{82B4419E-EA02-41F8-8851-D338BCF00BF0}" destId="{0EE2C3EC-54D5-48DD-BB5E-1E84B5C6767E}" srcOrd="0" destOrd="0" presId="urn:microsoft.com/office/officeart/2005/8/layout/lProcess3"/>
    <dgm:cxn modelId="{6C966E13-7C8E-43A9-964F-685BFD89EBC8}" type="presOf" srcId="{CF01FD37-5215-4548-BE2B-78D055A4E21C}" destId="{6D5874A7-055E-4F9A-B66C-41C76E99E891}" srcOrd="0" destOrd="0" presId="urn:microsoft.com/office/officeart/2005/8/layout/lProcess3"/>
    <dgm:cxn modelId="{1229EF09-38DE-4DBC-A8DA-8DE3EE5592E3}" type="presOf" srcId="{6D8F2393-DBD3-466D-BB9D-AE10062D1E45}" destId="{9E6C8AC0-5D21-43F3-83C4-CC1B7203E690}" srcOrd="0" destOrd="0" presId="urn:microsoft.com/office/officeart/2005/8/layout/lProcess3"/>
    <dgm:cxn modelId="{3C475407-F480-4626-964A-7BA9A53E8463}" srcId="{23193460-2B00-4BBA-B2EF-55CC2B44251D}" destId="{7EDDC5A2-9A6F-4101-B5CB-77EDED0EB09F}" srcOrd="2" destOrd="0" parTransId="{994A2668-1209-4FF4-84C6-EBEFEE5719F7}" sibTransId="{6F48EEA3-B2B6-4574-A8AF-5F75DE2E1693}"/>
    <dgm:cxn modelId="{0425F08E-D745-4524-BEC2-07ED372F5441}" type="presOf" srcId="{2B87F55F-3DDA-4DB8-85DC-69C630658C4A}" destId="{9DA68F1C-8A13-4764-9EED-8C5C1AC113E6}" srcOrd="0" destOrd="0" presId="urn:microsoft.com/office/officeart/2005/8/layout/lProcess3"/>
    <dgm:cxn modelId="{0123C213-567B-4983-9A19-D21B7B88431D}" type="presOf" srcId="{545954EC-4953-467F-8E27-933BAB5A8E05}" destId="{5F155100-7715-4A17-90EE-690DB2345E60}" srcOrd="0" destOrd="0" presId="urn:microsoft.com/office/officeart/2005/8/layout/lProcess3"/>
    <dgm:cxn modelId="{918F00CB-7114-4282-87B4-A1E0010BE594}" srcId="{200D83AC-C5D0-41BA-811A-B3A51FAD78B6}" destId="{68429C62-D242-4BC3-A936-D3E8773B3F8C}" srcOrd="4" destOrd="0" parTransId="{CAC87AB9-4961-4200-9EF0-9F5DEFE8427F}" sibTransId="{52E6E5FB-CBC5-4096-AD5B-3F97BC6BC467}"/>
    <dgm:cxn modelId="{17F6472B-5BE6-4D2E-9D5C-06CFDFAC0AA4}" type="presOf" srcId="{647DD7A5-0012-436B-BAB9-BDE52DC25B90}" destId="{F6E04653-AC57-46CE-A503-3CBBAD1D7D39}" srcOrd="0" destOrd="0" presId="urn:microsoft.com/office/officeart/2005/8/layout/lProcess3"/>
    <dgm:cxn modelId="{8324EA51-7934-404F-ACE3-781E3D7CB194}" srcId="{A4C25754-AF2E-445A-B1C4-208C361E3027}" destId="{200D83AC-C5D0-41BA-811A-B3A51FAD78B6}" srcOrd="3" destOrd="0" parTransId="{02835EAF-5BF8-4E07-A431-46A922AABF34}" sibTransId="{326B56DF-E23E-423F-BF5D-22C07A504864}"/>
    <dgm:cxn modelId="{C355C560-CE03-445B-A62A-70AC2F8C5F66}" srcId="{647DD7A5-0012-436B-BAB9-BDE52DC25B90}" destId="{1F00858C-756E-438F-ACFC-655C02058CEA}" srcOrd="3" destOrd="0" parTransId="{3C5879BC-6281-4669-8BEF-2E0C6AD6F405}" sibTransId="{E87351C3-C3F4-4BF9-BC9D-FD82FB04DFC6}"/>
    <dgm:cxn modelId="{25B05182-C4E5-433F-94AA-81007F540EC6}" type="presOf" srcId="{0DDA3729-7A05-4DAF-846F-9BDFA20AE763}" destId="{5AF84740-819D-449D-97C7-EAE98E98E081}" srcOrd="0" destOrd="0" presId="urn:microsoft.com/office/officeart/2005/8/layout/lProcess3"/>
    <dgm:cxn modelId="{03DFE1E2-F88B-4EEB-A772-5D88591C3F04}" type="presParOf" srcId="{1DE78E1A-287A-4644-911E-2C3E7FDD395B}" destId="{1A84AAE2-0808-451B-B00F-51978064A56A}" srcOrd="0" destOrd="0" presId="urn:microsoft.com/office/officeart/2005/8/layout/lProcess3"/>
    <dgm:cxn modelId="{86D7E632-AAFC-48EB-8068-6819A505285C}" type="presParOf" srcId="{1A84AAE2-0808-451B-B00F-51978064A56A}" destId="{F6E04653-AC57-46CE-A503-3CBBAD1D7D39}" srcOrd="0" destOrd="0" presId="urn:microsoft.com/office/officeart/2005/8/layout/lProcess3"/>
    <dgm:cxn modelId="{B9195C12-F1FA-4333-A756-11F46AF9462E}" type="presParOf" srcId="{1A84AAE2-0808-451B-B00F-51978064A56A}" destId="{2FD405EF-9A12-4113-837F-4235A9C8BCDF}" srcOrd="1" destOrd="0" presId="urn:microsoft.com/office/officeart/2005/8/layout/lProcess3"/>
    <dgm:cxn modelId="{873A17B3-8164-4966-9FE4-8F31D8D3400D}" type="presParOf" srcId="{1A84AAE2-0808-451B-B00F-51978064A56A}" destId="{9E6C8AC0-5D21-43F3-83C4-CC1B7203E690}" srcOrd="2" destOrd="0" presId="urn:microsoft.com/office/officeart/2005/8/layout/lProcess3"/>
    <dgm:cxn modelId="{E2D5FEEB-7454-46B1-8B26-5D089326A5EB}" type="presParOf" srcId="{1A84AAE2-0808-451B-B00F-51978064A56A}" destId="{12437B27-DC93-4BD7-BC2C-B48051EB2B27}" srcOrd="3" destOrd="0" presId="urn:microsoft.com/office/officeart/2005/8/layout/lProcess3"/>
    <dgm:cxn modelId="{36A65702-D9EB-4058-A5E1-C37ADE9DA79E}" type="presParOf" srcId="{1A84AAE2-0808-451B-B00F-51978064A56A}" destId="{5F155100-7715-4A17-90EE-690DB2345E60}" srcOrd="4" destOrd="0" presId="urn:microsoft.com/office/officeart/2005/8/layout/lProcess3"/>
    <dgm:cxn modelId="{272B8057-6A0B-4D91-9B6A-D8A4771593BC}" type="presParOf" srcId="{1A84AAE2-0808-451B-B00F-51978064A56A}" destId="{556E6604-75C8-47B9-8F4D-7B0C112FFCB2}" srcOrd="5" destOrd="0" presId="urn:microsoft.com/office/officeart/2005/8/layout/lProcess3"/>
    <dgm:cxn modelId="{C0704F78-2389-467F-A25B-807B3274C5B5}" type="presParOf" srcId="{1A84AAE2-0808-451B-B00F-51978064A56A}" destId="{7BCA09AF-73D2-4619-A7A7-F58A620080A0}" srcOrd="6" destOrd="0" presId="urn:microsoft.com/office/officeart/2005/8/layout/lProcess3"/>
    <dgm:cxn modelId="{A3703474-2FCD-4696-80A9-199EB8AB4DA3}" type="presParOf" srcId="{1A84AAE2-0808-451B-B00F-51978064A56A}" destId="{6993564F-6DB6-4935-B3A0-CE9427733D38}" srcOrd="7" destOrd="0" presId="urn:microsoft.com/office/officeart/2005/8/layout/lProcess3"/>
    <dgm:cxn modelId="{E72A4589-23AF-4F18-BF76-B4DE4F6EEF14}" type="presParOf" srcId="{1A84AAE2-0808-451B-B00F-51978064A56A}" destId="{6F58A52D-AFF9-49F5-8538-1AB9A54C1571}" srcOrd="8" destOrd="0" presId="urn:microsoft.com/office/officeart/2005/8/layout/lProcess3"/>
    <dgm:cxn modelId="{ED12AC98-406E-4181-B36E-E5DCCA79B2DA}" type="presParOf" srcId="{1A84AAE2-0808-451B-B00F-51978064A56A}" destId="{26A65A6A-FEA9-4FF4-AB74-E96C5C5FD924}" srcOrd="9" destOrd="0" presId="urn:microsoft.com/office/officeart/2005/8/layout/lProcess3"/>
    <dgm:cxn modelId="{3194EB45-0636-4686-9137-AC183D0C0CE3}" type="presParOf" srcId="{1A84AAE2-0808-451B-B00F-51978064A56A}" destId="{9DA68F1C-8A13-4764-9EED-8C5C1AC113E6}" srcOrd="10" destOrd="0" presId="urn:microsoft.com/office/officeart/2005/8/layout/lProcess3"/>
    <dgm:cxn modelId="{DF5CBDB7-2623-46A5-A952-C0DF06C46FF2}" type="presParOf" srcId="{1DE78E1A-287A-4644-911E-2C3E7FDD395B}" destId="{0D952C92-7C21-4671-AE94-64DCC08CB47C}" srcOrd="1" destOrd="0" presId="urn:microsoft.com/office/officeart/2005/8/layout/lProcess3"/>
    <dgm:cxn modelId="{C838AD49-E1E4-4872-AC9A-B11B83F071F1}" type="presParOf" srcId="{1DE78E1A-287A-4644-911E-2C3E7FDD395B}" destId="{FED88096-892B-4EC2-9E54-1AC122C68345}" srcOrd="2" destOrd="0" presId="urn:microsoft.com/office/officeart/2005/8/layout/lProcess3"/>
    <dgm:cxn modelId="{750C95E6-565B-43DF-8EAB-BB598045D0E9}" type="presParOf" srcId="{FED88096-892B-4EC2-9E54-1AC122C68345}" destId="{45A1425D-2946-43E1-B1EC-77043B192449}" srcOrd="0" destOrd="0" presId="urn:microsoft.com/office/officeart/2005/8/layout/lProcess3"/>
    <dgm:cxn modelId="{CA615CAB-EB8B-4A93-93C9-1FC67FBA607B}" type="presParOf" srcId="{FED88096-892B-4EC2-9E54-1AC122C68345}" destId="{6EDFC9BE-7488-47C8-9C6B-A9C6D1E82C02}" srcOrd="1" destOrd="0" presId="urn:microsoft.com/office/officeart/2005/8/layout/lProcess3"/>
    <dgm:cxn modelId="{5BA53591-4418-4DE6-ADB5-ECAAF47B2303}" type="presParOf" srcId="{FED88096-892B-4EC2-9E54-1AC122C68345}" destId="{050DB05E-783F-4CCF-9747-F95A7E32D478}" srcOrd="2" destOrd="0" presId="urn:microsoft.com/office/officeart/2005/8/layout/lProcess3"/>
    <dgm:cxn modelId="{E09145B5-25C5-4651-ADB2-4B7228A525BE}" type="presParOf" srcId="{FED88096-892B-4EC2-9E54-1AC122C68345}" destId="{3F8234F6-BDB0-48B1-8C45-48C899BF167B}" srcOrd="3" destOrd="0" presId="urn:microsoft.com/office/officeart/2005/8/layout/lProcess3"/>
    <dgm:cxn modelId="{FDDAC889-786C-4595-9C72-F764630E9630}" type="presParOf" srcId="{FED88096-892B-4EC2-9E54-1AC122C68345}" destId="{EE523708-1E1B-4AAA-A918-8F0DB46124F9}" srcOrd="4" destOrd="0" presId="urn:microsoft.com/office/officeart/2005/8/layout/lProcess3"/>
    <dgm:cxn modelId="{0A474BF0-7B53-4D3B-BB46-B3B905DA9B6C}" type="presParOf" srcId="{FED88096-892B-4EC2-9E54-1AC122C68345}" destId="{394A353D-2412-4CC3-8B67-F3A0F8C998EB}" srcOrd="5" destOrd="0" presId="urn:microsoft.com/office/officeart/2005/8/layout/lProcess3"/>
    <dgm:cxn modelId="{96C6BCB3-D62C-4445-89F4-5D967A415F50}" type="presParOf" srcId="{FED88096-892B-4EC2-9E54-1AC122C68345}" destId="{87B307EE-F7E3-478C-99DF-363D7920F82C}" srcOrd="6" destOrd="0" presId="urn:microsoft.com/office/officeart/2005/8/layout/lProcess3"/>
    <dgm:cxn modelId="{017CA1E8-334C-4724-ACA9-B08BA176049F}" type="presParOf" srcId="{FED88096-892B-4EC2-9E54-1AC122C68345}" destId="{1F7177C5-C327-4167-AB92-530115D8A37A}" srcOrd="7" destOrd="0" presId="urn:microsoft.com/office/officeart/2005/8/layout/lProcess3"/>
    <dgm:cxn modelId="{8D9D76B5-1C06-466E-9223-DC965F56770C}" type="presParOf" srcId="{FED88096-892B-4EC2-9E54-1AC122C68345}" destId="{CED8139D-1618-489C-91A6-6B435D2A051E}" srcOrd="8" destOrd="0" presId="urn:microsoft.com/office/officeart/2005/8/layout/lProcess3"/>
    <dgm:cxn modelId="{126F53A2-608D-4627-9E22-307208EB89E0}" type="presParOf" srcId="{FED88096-892B-4EC2-9E54-1AC122C68345}" destId="{232C0BA6-DDAE-4F0C-A30C-002BE01369D9}" srcOrd="9" destOrd="0" presId="urn:microsoft.com/office/officeart/2005/8/layout/lProcess3"/>
    <dgm:cxn modelId="{48279FFF-5572-46B4-AA3B-B05EEABA6BB1}" type="presParOf" srcId="{FED88096-892B-4EC2-9E54-1AC122C68345}" destId="{76A59E32-1369-43F3-BA20-12EAEE339E49}" srcOrd="10" destOrd="0" presId="urn:microsoft.com/office/officeart/2005/8/layout/lProcess3"/>
    <dgm:cxn modelId="{A10D23F7-F880-4CC8-97AB-65A298E5F8E7}" type="presParOf" srcId="{1DE78E1A-287A-4644-911E-2C3E7FDD395B}" destId="{91A9BBBC-E226-44ED-B966-18A36F466E5B}" srcOrd="3" destOrd="0" presId="urn:microsoft.com/office/officeart/2005/8/layout/lProcess3"/>
    <dgm:cxn modelId="{592FA729-8145-4D18-B756-C68F20532742}" type="presParOf" srcId="{1DE78E1A-287A-4644-911E-2C3E7FDD395B}" destId="{DAD2B607-B187-469D-B28A-EE687D766071}" srcOrd="4" destOrd="0" presId="urn:microsoft.com/office/officeart/2005/8/layout/lProcess3"/>
    <dgm:cxn modelId="{10021B57-99D7-452F-AD30-D0758ACD36DA}" type="presParOf" srcId="{DAD2B607-B187-469D-B28A-EE687D766071}" destId="{AC514612-8832-4B0F-86D0-3200CCE54AE0}" srcOrd="0" destOrd="0" presId="urn:microsoft.com/office/officeart/2005/8/layout/lProcess3"/>
    <dgm:cxn modelId="{FB910D25-0CDE-47C2-9B19-082D1319B083}" type="presParOf" srcId="{DAD2B607-B187-469D-B28A-EE687D766071}" destId="{71A396D0-074E-437B-B2EF-A0B34E0BE7F7}" srcOrd="1" destOrd="0" presId="urn:microsoft.com/office/officeart/2005/8/layout/lProcess3"/>
    <dgm:cxn modelId="{A652C5B9-1CCD-407C-8055-2F629BCB8D4B}" type="presParOf" srcId="{DAD2B607-B187-469D-B28A-EE687D766071}" destId="{F6BDEFCB-7EF5-4C67-9CC3-C8A5F8837BEC}" srcOrd="2" destOrd="0" presId="urn:microsoft.com/office/officeart/2005/8/layout/lProcess3"/>
    <dgm:cxn modelId="{F75138C2-7F3B-4A06-A333-2041F85A337D}" type="presParOf" srcId="{DAD2B607-B187-469D-B28A-EE687D766071}" destId="{AB380205-9165-48BE-90AF-1D37155F4626}" srcOrd="3" destOrd="0" presId="urn:microsoft.com/office/officeart/2005/8/layout/lProcess3"/>
    <dgm:cxn modelId="{1A5F15D3-A5A1-4A8C-81B7-C7C280F31E86}" type="presParOf" srcId="{DAD2B607-B187-469D-B28A-EE687D766071}" destId="{58186B43-07B2-485C-BAFC-A38A2D2CA252}" srcOrd="4" destOrd="0" presId="urn:microsoft.com/office/officeart/2005/8/layout/lProcess3"/>
    <dgm:cxn modelId="{84EE89C9-E0E2-4A56-BF61-6CE92D98D1F1}" type="presParOf" srcId="{DAD2B607-B187-469D-B28A-EE687D766071}" destId="{7D78B4A9-2CA2-46A7-9724-90A84F6E3D1B}" srcOrd="5" destOrd="0" presId="urn:microsoft.com/office/officeart/2005/8/layout/lProcess3"/>
    <dgm:cxn modelId="{A3E9765F-3125-46B7-960A-427A60457FD2}" type="presParOf" srcId="{DAD2B607-B187-469D-B28A-EE687D766071}" destId="{0147A711-EAE7-444C-88B2-0E0CB88E6274}" srcOrd="6" destOrd="0" presId="urn:microsoft.com/office/officeart/2005/8/layout/lProcess3"/>
    <dgm:cxn modelId="{5CCCBA00-1852-489B-AF9D-764F6920A961}" type="presParOf" srcId="{DAD2B607-B187-469D-B28A-EE687D766071}" destId="{83242370-A8A0-49D9-8F01-B0DBCCE9E329}" srcOrd="7" destOrd="0" presId="urn:microsoft.com/office/officeart/2005/8/layout/lProcess3"/>
    <dgm:cxn modelId="{408F77B0-5725-4833-A6F1-EEFF94D0785F}" type="presParOf" srcId="{DAD2B607-B187-469D-B28A-EE687D766071}" destId="{9FA528D7-26AC-4E04-B14F-E0155359DB2B}" srcOrd="8" destOrd="0" presId="urn:microsoft.com/office/officeart/2005/8/layout/lProcess3"/>
    <dgm:cxn modelId="{34B7B0BB-AC67-4C22-B383-374F59BFDCC0}" type="presParOf" srcId="{DAD2B607-B187-469D-B28A-EE687D766071}" destId="{830719E3-B039-41C3-82E1-9E3518710380}" srcOrd="9" destOrd="0" presId="urn:microsoft.com/office/officeart/2005/8/layout/lProcess3"/>
    <dgm:cxn modelId="{6A9353A4-2133-49B4-B11B-25B5C1EFD7C6}" type="presParOf" srcId="{DAD2B607-B187-469D-B28A-EE687D766071}" destId="{6E216FF8-2780-4ABE-969B-CDD8F6583DDC}" srcOrd="10" destOrd="0" presId="urn:microsoft.com/office/officeart/2005/8/layout/lProcess3"/>
    <dgm:cxn modelId="{5E115026-1A78-47EC-B3B9-C6FDE6A3F4E8}" type="presParOf" srcId="{1DE78E1A-287A-4644-911E-2C3E7FDD395B}" destId="{8666EA12-234D-4CB4-8E75-0C81F718C0A9}" srcOrd="5" destOrd="0" presId="urn:microsoft.com/office/officeart/2005/8/layout/lProcess3"/>
    <dgm:cxn modelId="{477C78BB-9DEE-4229-8308-17F8A36D26C0}" type="presParOf" srcId="{1DE78E1A-287A-4644-911E-2C3E7FDD395B}" destId="{796B9B0D-116E-4086-8A01-98631B908ABA}" srcOrd="6" destOrd="0" presId="urn:microsoft.com/office/officeart/2005/8/layout/lProcess3"/>
    <dgm:cxn modelId="{FD9034B6-0CD4-4EF6-B5B3-DDAD4154BE24}" type="presParOf" srcId="{796B9B0D-116E-4086-8A01-98631B908ABA}" destId="{485A7BA8-4B01-4F03-9FEA-3F36F66E18BF}" srcOrd="0" destOrd="0" presId="urn:microsoft.com/office/officeart/2005/8/layout/lProcess3"/>
    <dgm:cxn modelId="{A67BC6C0-EBE3-4758-9FD1-1808734753EB}" type="presParOf" srcId="{796B9B0D-116E-4086-8A01-98631B908ABA}" destId="{65F788A3-EE83-41DF-A709-64EE73BE60F6}" srcOrd="1" destOrd="0" presId="urn:microsoft.com/office/officeart/2005/8/layout/lProcess3"/>
    <dgm:cxn modelId="{3BD5D6B9-00DB-4257-8851-83FDAAA60829}" type="presParOf" srcId="{796B9B0D-116E-4086-8A01-98631B908ABA}" destId="{A21599CC-FDF9-4BEE-94FB-C6E87C0708EC}" srcOrd="2" destOrd="0" presId="urn:microsoft.com/office/officeart/2005/8/layout/lProcess3"/>
    <dgm:cxn modelId="{8205683A-207E-49F5-A1C8-1F8004804038}" type="presParOf" srcId="{796B9B0D-116E-4086-8A01-98631B908ABA}" destId="{6CC01132-C12E-49BF-A3EA-59F408C6F93A}" srcOrd="3" destOrd="0" presId="urn:microsoft.com/office/officeart/2005/8/layout/lProcess3"/>
    <dgm:cxn modelId="{338E86E7-CB53-4DD9-9CB8-36FB970BDEBD}" type="presParOf" srcId="{796B9B0D-116E-4086-8A01-98631B908ABA}" destId="{3888236F-2F44-48D5-A5C6-DABD9C06C8CC}" srcOrd="4" destOrd="0" presId="urn:microsoft.com/office/officeart/2005/8/layout/lProcess3"/>
    <dgm:cxn modelId="{BB6FD84B-5007-4E7F-902C-D152916C4144}" type="presParOf" srcId="{796B9B0D-116E-4086-8A01-98631B908ABA}" destId="{F35A0A9F-9A25-42A6-BF2C-69FEBFB0DB4C}" srcOrd="5" destOrd="0" presId="urn:microsoft.com/office/officeart/2005/8/layout/lProcess3"/>
    <dgm:cxn modelId="{C85D085E-51DF-48FC-8D95-33080565CBFC}" type="presParOf" srcId="{796B9B0D-116E-4086-8A01-98631B908ABA}" destId="{5AF84740-819D-449D-97C7-EAE98E98E081}" srcOrd="6" destOrd="0" presId="urn:microsoft.com/office/officeart/2005/8/layout/lProcess3"/>
    <dgm:cxn modelId="{7B04B57D-E4D8-4CF5-BE66-66A54B059B98}" type="presParOf" srcId="{796B9B0D-116E-4086-8A01-98631B908ABA}" destId="{40EE262A-49C7-4269-8DC6-FD31818ED9BF}" srcOrd="7" destOrd="0" presId="urn:microsoft.com/office/officeart/2005/8/layout/lProcess3"/>
    <dgm:cxn modelId="{D70BDC74-3EB9-464E-B0F5-5A65FBD27A77}" type="presParOf" srcId="{796B9B0D-116E-4086-8A01-98631B908ABA}" destId="{6D5874A7-055E-4F9A-B66C-41C76E99E891}" srcOrd="8" destOrd="0" presId="urn:microsoft.com/office/officeart/2005/8/layout/lProcess3"/>
    <dgm:cxn modelId="{3391129E-07F5-47DC-A080-9C4CB9E5EA70}" type="presParOf" srcId="{796B9B0D-116E-4086-8A01-98631B908ABA}" destId="{49696669-8187-4215-A384-B41ED3E76D10}" srcOrd="9" destOrd="0" presId="urn:microsoft.com/office/officeart/2005/8/layout/lProcess3"/>
    <dgm:cxn modelId="{19C52023-08DF-4414-92A1-9CF44913D054}" type="presParOf" srcId="{796B9B0D-116E-4086-8A01-98631B908ABA}" destId="{9CC83299-14B0-40DD-9F7A-7FBAE486816D}" srcOrd="10" destOrd="0" presId="urn:microsoft.com/office/officeart/2005/8/layout/lProcess3"/>
    <dgm:cxn modelId="{EDB1958E-C7B7-4680-9890-E67386367AB6}" type="presParOf" srcId="{1DE78E1A-287A-4644-911E-2C3E7FDD395B}" destId="{1761FCF1-B633-4053-8B15-63E9AE502833}" srcOrd="7" destOrd="0" presId="urn:microsoft.com/office/officeart/2005/8/layout/lProcess3"/>
    <dgm:cxn modelId="{DCA1D852-6117-4736-8EBA-50E6F909EDED}" type="presParOf" srcId="{1DE78E1A-287A-4644-911E-2C3E7FDD395B}" destId="{0D0AE263-B1EA-44DD-9FE2-9CAC606D6FC5}" srcOrd="8" destOrd="0" presId="urn:microsoft.com/office/officeart/2005/8/layout/lProcess3"/>
    <dgm:cxn modelId="{50D7AD5F-9B18-4CF5-9461-59BB5EBFC5EB}" type="presParOf" srcId="{0D0AE263-B1EA-44DD-9FE2-9CAC606D6FC5}" destId="{01295B02-5629-4790-BB4D-A7650C590746}" srcOrd="0" destOrd="0" presId="urn:microsoft.com/office/officeart/2005/8/layout/lProcess3"/>
    <dgm:cxn modelId="{D614DE7C-0F7B-4A82-B391-2177E6EB656A}" type="presParOf" srcId="{0D0AE263-B1EA-44DD-9FE2-9CAC606D6FC5}" destId="{A75BC414-AEA6-434B-B674-287E649E0B5D}" srcOrd="1" destOrd="0" presId="urn:microsoft.com/office/officeart/2005/8/layout/lProcess3"/>
    <dgm:cxn modelId="{08BBBF0A-BC97-4D66-B6A1-6C5384587FBA}" type="presParOf" srcId="{0D0AE263-B1EA-44DD-9FE2-9CAC606D6FC5}" destId="{6EF753EC-17CD-46A6-81D5-6C737C6C4D8F}" srcOrd="2" destOrd="0" presId="urn:microsoft.com/office/officeart/2005/8/layout/lProcess3"/>
    <dgm:cxn modelId="{E7B52315-F888-4FB9-8EAF-5F269D19EDD9}" type="presParOf" srcId="{0D0AE263-B1EA-44DD-9FE2-9CAC606D6FC5}" destId="{F90259C5-94CE-4646-9BBB-9D77BAFCC246}" srcOrd="3" destOrd="0" presId="urn:microsoft.com/office/officeart/2005/8/layout/lProcess3"/>
    <dgm:cxn modelId="{6B494ED2-D653-412A-9B2C-E1A385520822}" type="presParOf" srcId="{0D0AE263-B1EA-44DD-9FE2-9CAC606D6FC5}" destId="{63D44174-705A-471D-8957-98F128C02313}" srcOrd="4" destOrd="0" presId="urn:microsoft.com/office/officeart/2005/8/layout/lProcess3"/>
    <dgm:cxn modelId="{224B64EA-CD0E-4FA3-A85E-1D54DCECD0FD}" type="presParOf" srcId="{0D0AE263-B1EA-44DD-9FE2-9CAC606D6FC5}" destId="{F97E5AF9-947E-4CC6-9073-F777788D2625}" srcOrd="5" destOrd="0" presId="urn:microsoft.com/office/officeart/2005/8/layout/lProcess3"/>
    <dgm:cxn modelId="{EBAD3D41-9233-4304-8413-BA30350E04F8}" type="presParOf" srcId="{0D0AE263-B1EA-44DD-9FE2-9CAC606D6FC5}" destId="{A7989C51-1EF4-4500-81D6-6D719DDD68D0}" srcOrd="6" destOrd="0" presId="urn:microsoft.com/office/officeart/2005/8/layout/lProcess3"/>
    <dgm:cxn modelId="{55322381-A1F4-4096-9562-23DEEC8CFEDE}" type="presParOf" srcId="{0D0AE263-B1EA-44DD-9FE2-9CAC606D6FC5}" destId="{49AEC048-1AAE-4592-9445-E9DFA3B4AE30}" srcOrd="7" destOrd="0" presId="urn:microsoft.com/office/officeart/2005/8/layout/lProcess3"/>
    <dgm:cxn modelId="{514DB903-515B-47F0-AF3F-37CBE505991C}" type="presParOf" srcId="{0D0AE263-B1EA-44DD-9FE2-9CAC606D6FC5}" destId="{A13861A0-3C4D-407A-AD33-595EDBF2F097}" srcOrd="8" destOrd="0" presId="urn:microsoft.com/office/officeart/2005/8/layout/lProcess3"/>
    <dgm:cxn modelId="{E5B4B962-20B0-4FE4-81F2-F884317740DD}" type="presParOf" srcId="{0D0AE263-B1EA-44DD-9FE2-9CAC606D6FC5}" destId="{4A81BF62-7FD5-4E20-9909-F9C72ED58289}" srcOrd="9" destOrd="0" presId="urn:microsoft.com/office/officeart/2005/8/layout/lProcess3"/>
    <dgm:cxn modelId="{CA5657B5-167D-4D10-9C29-4BE85B326F2E}" type="presParOf" srcId="{0D0AE263-B1EA-44DD-9FE2-9CAC606D6FC5}" destId="{0EE2C3EC-54D5-48DD-BB5E-1E84B5C6767E}" srcOrd="10" destOrd="0" presId="urn:microsoft.com/office/officeart/2005/8/layout/lProcess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4C25754-AF2E-445A-B1C4-208C361E302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647DD7A5-0012-436B-BAB9-BDE52DC25B90}">
      <dgm:prSet phldrT="[Tekst]" custT="1"/>
      <dgm:spPr>
        <a:solidFill>
          <a:srgbClr val="C00000"/>
        </a:solidFill>
      </dgm:spPr>
      <dgm:t>
        <a:bodyPr/>
        <a:lstStyle/>
        <a:p>
          <a:r>
            <a:rPr lang="nl-NL" sz="1000">
              <a:solidFill>
                <a:schemeClr val="bg1"/>
              </a:solidFill>
            </a:rPr>
            <a:t>Architectuur</a:t>
          </a:r>
        </a:p>
      </dgm:t>
    </dgm:pt>
    <dgm:pt modelId="{3AB16B59-D0CB-483E-BCBC-D5B2E737CB7D}" type="parTrans" cxnId="{3F8CF7C8-6210-42A5-8DA3-FA0302C8434A}">
      <dgm:prSet/>
      <dgm:spPr/>
      <dgm:t>
        <a:bodyPr/>
        <a:lstStyle/>
        <a:p>
          <a:endParaRPr lang="nl-NL" sz="1000"/>
        </a:p>
      </dgm:t>
    </dgm:pt>
    <dgm:pt modelId="{706A9391-DCC8-4EEB-A18D-BE55B315846C}" type="sibTrans" cxnId="{3F8CF7C8-6210-42A5-8DA3-FA0302C8434A}">
      <dgm:prSet/>
      <dgm:spPr/>
      <dgm:t>
        <a:bodyPr/>
        <a:lstStyle/>
        <a:p>
          <a:endParaRPr lang="nl-NL" sz="1000"/>
        </a:p>
      </dgm:t>
    </dgm:pt>
    <dgm:pt modelId="{6D8F2393-DBD3-466D-BB9D-AE10062D1E45}">
      <dgm:prSet phldrT="[Tekst]" custT="1"/>
      <dgm:spPr>
        <a:solidFill>
          <a:schemeClr val="accent1">
            <a:lumMod val="90000"/>
            <a:alpha val="90000"/>
          </a:schemeClr>
        </a:solidFill>
      </dgm:spPr>
      <dgm:t>
        <a:bodyPr/>
        <a:lstStyle/>
        <a:p>
          <a:pPr marL="0" indent="0">
            <a:spcAft>
              <a:spcPts val="600"/>
            </a:spcAft>
            <a:buFont typeface="+mj-lt"/>
            <a:buNone/>
          </a:pPr>
          <a:r>
            <a:rPr lang="nl-NL" sz="900"/>
            <a:t>Architectuurproducten &amp; -proces op orde</a:t>
          </a:r>
        </a:p>
        <a:p>
          <a:pPr marL="0" indent="0">
            <a:spcAft>
              <a:spcPct val="35000"/>
            </a:spcAft>
            <a:buFont typeface="+mj-lt"/>
            <a:buNone/>
          </a:pPr>
          <a:r>
            <a:rPr lang="nl-NL" sz="900"/>
            <a:t>Enterprise &amp; domein-architectuur van primaire proces</a:t>
          </a:r>
          <a:endParaRPr lang="nl-NL" sz="900">
            <a:solidFill>
              <a:schemeClr val="tx1"/>
            </a:solidFill>
          </a:endParaRPr>
        </a:p>
      </dgm:t>
    </dgm:pt>
    <dgm:pt modelId="{583416F9-FBC6-4C82-8614-951CEE12CD70}" type="parTrans" cxnId="{D65ABC08-8E9F-48FB-9C91-F5256B3DDC67}">
      <dgm:prSet/>
      <dgm:spPr/>
      <dgm:t>
        <a:bodyPr/>
        <a:lstStyle/>
        <a:p>
          <a:endParaRPr lang="nl-NL" sz="1000"/>
        </a:p>
      </dgm:t>
    </dgm:pt>
    <dgm:pt modelId="{03DE5228-1E63-4C54-9AE4-3B883B2F1DBA}" type="sibTrans" cxnId="{D65ABC08-8E9F-48FB-9C91-F5256B3DDC67}">
      <dgm:prSet/>
      <dgm:spPr/>
      <dgm:t>
        <a:bodyPr/>
        <a:lstStyle/>
        <a:p>
          <a:endParaRPr lang="nl-NL" sz="1000"/>
        </a:p>
      </dgm:t>
    </dgm:pt>
    <dgm:pt modelId="{545954EC-4953-467F-8E27-933BAB5A8E05}">
      <dgm:prSet phldrT="[Tekst]" custT="1"/>
      <dgm:spPr/>
      <dgm:t>
        <a:bodyPr/>
        <a:lstStyle/>
        <a:p>
          <a:pPr>
            <a:spcAft>
              <a:spcPts val="600"/>
            </a:spcAft>
            <a:buFont typeface="+mj-lt"/>
            <a:buAutoNum type="alphaLcParenR" startAt="3"/>
          </a:pPr>
          <a:r>
            <a:rPr lang="nl-NL" sz="900">
              <a:solidFill>
                <a:schemeClr val="tx1"/>
              </a:solidFill>
            </a:rPr>
            <a:t>Interne capaciteit architecten</a:t>
          </a:r>
        </a:p>
        <a:p>
          <a:pPr>
            <a:spcAft>
              <a:spcPts val="600"/>
            </a:spcAft>
            <a:buFont typeface="+mj-lt"/>
            <a:buAutoNum type="alphaLcParenR" startAt="3"/>
          </a:pPr>
          <a:r>
            <a:rPr lang="nl-NL" sz="900">
              <a:solidFill>
                <a:schemeClr val="tx1"/>
              </a:solidFill>
            </a:rPr>
            <a:t>Architectuurbewustzijn gehele organisatie </a:t>
          </a:r>
        </a:p>
        <a:p>
          <a:pPr>
            <a:spcAft>
              <a:spcPts val="600"/>
            </a:spcAft>
            <a:buFont typeface="+mj-lt"/>
            <a:buAutoNum type="alphaLcParenR" startAt="3"/>
          </a:pPr>
          <a:r>
            <a:rPr lang="nl-NL" sz="900">
              <a:solidFill>
                <a:schemeClr val="tx1"/>
              </a:solidFill>
            </a:rPr>
            <a:t>Alle domein-architecturen op orde</a:t>
          </a:r>
        </a:p>
      </dgm:t>
    </dgm:pt>
    <dgm:pt modelId="{E031E22B-55B8-4FED-A7B2-47054E3D78C2}" type="parTrans" cxnId="{80260B3B-B79C-46B4-97AA-A804C2A3920E}">
      <dgm:prSet/>
      <dgm:spPr/>
      <dgm:t>
        <a:bodyPr/>
        <a:lstStyle/>
        <a:p>
          <a:endParaRPr lang="nl-NL" sz="1000"/>
        </a:p>
      </dgm:t>
    </dgm:pt>
    <dgm:pt modelId="{3195B29B-0B9A-47B3-B2F4-4FDC8876F8E7}" type="sibTrans" cxnId="{80260B3B-B79C-46B4-97AA-A804C2A3920E}">
      <dgm:prSet/>
      <dgm:spPr/>
      <dgm:t>
        <a:bodyPr/>
        <a:lstStyle/>
        <a:p>
          <a:endParaRPr lang="nl-NL" sz="1000"/>
        </a:p>
      </dgm:t>
    </dgm:pt>
    <dgm:pt modelId="{22C9BA16-C912-4AB8-B16E-FF797935FE95}">
      <dgm:prSet phldrT="[Tekst]" custT="1"/>
      <dgm:spPr>
        <a:solidFill>
          <a:srgbClr val="C00000"/>
        </a:solidFill>
        <a:ln>
          <a:solidFill>
            <a:schemeClr val="bg1"/>
          </a:solidFill>
        </a:ln>
      </dgm:spPr>
      <dgm:t>
        <a:bodyPr/>
        <a:lstStyle/>
        <a:p>
          <a:r>
            <a:rPr lang="nl-NL" sz="1000">
              <a:solidFill>
                <a:schemeClr val="bg1"/>
              </a:solidFill>
            </a:rPr>
            <a:t>IBP</a:t>
          </a:r>
        </a:p>
      </dgm:t>
    </dgm:pt>
    <dgm:pt modelId="{93B98DF1-7871-4E1C-BCA9-B7D1E46536EC}" type="parTrans" cxnId="{C244C082-4F01-4C68-ACB6-0E8FA3198B3E}">
      <dgm:prSet/>
      <dgm:spPr/>
      <dgm:t>
        <a:bodyPr/>
        <a:lstStyle/>
        <a:p>
          <a:endParaRPr lang="nl-NL" sz="1000"/>
        </a:p>
      </dgm:t>
    </dgm:pt>
    <dgm:pt modelId="{92090AD9-6C79-48EC-9401-F0B181673841}" type="sibTrans" cxnId="{C244C082-4F01-4C68-ACB6-0E8FA3198B3E}">
      <dgm:prSet/>
      <dgm:spPr/>
      <dgm:t>
        <a:bodyPr/>
        <a:lstStyle/>
        <a:p>
          <a:endParaRPr lang="nl-NL" sz="1000"/>
        </a:p>
      </dgm:t>
    </dgm:pt>
    <dgm:pt modelId="{17FA8828-52A2-4AF5-B391-AB85135831D1}">
      <dgm:prSet phldrT="[Tekst]" custT="1"/>
      <dgm:spPr>
        <a:solidFill>
          <a:schemeClr val="accent1">
            <a:lumMod val="90000"/>
            <a:alpha val="90000"/>
          </a:schemeClr>
        </a:solidFill>
      </dgm:spPr>
      <dgm:t>
        <a:bodyPr/>
        <a:lstStyle/>
        <a:p>
          <a:pPr>
            <a:buClrTx/>
            <a:buSzTx/>
            <a:buFont typeface="+mj-lt"/>
            <a:buAutoNum type="alphaLcParenR"/>
          </a:pPr>
          <a:r>
            <a:rPr lang="nl-NL" sz="900"/>
            <a:t>Gezamenlijk IBP Beleid opgesteld</a:t>
          </a:r>
        </a:p>
        <a:p>
          <a:pPr>
            <a:buClrTx/>
            <a:buSzTx/>
            <a:buFont typeface="+mj-lt"/>
            <a:buAutoNum type="alphaLcParenR"/>
          </a:pPr>
          <a:r>
            <a:rPr lang="nl-NL" sz="900"/>
            <a:t>Risicomanagement ingericht</a:t>
          </a:r>
        </a:p>
      </dgm:t>
    </dgm:pt>
    <dgm:pt modelId="{7C76C83D-CE5B-4D7C-AD83-B4E39CEEF00A}" type="parTrans" cxnId="{ED905CA8-78C4-4B26-B4F3-FBE3111ED1C6}">
      <dgm:prSet/>
      <dgm:spPr/>
      <dgm:t>
        <a:bodyPr/>
        <a:lstStyle/>
        <a:p>
          <a:endParaRPr lang="nl-NL" sz="1000"/>
        </a:p>
      </dgm:t>
    </dgm:pt>
    <dgm:pt modelId="{5831FBD0-5DF6-4737-9D40-31BD670C5784}" type="sibTrans" cxnId="{ED905CA8-78C4-4B26-B4F3-FBE3111ED1C6}">
      <dgm:prSet/>
      <dgm:spPr/>
      <dgm:t>
        <a:bodyPr/>
        <a:lstStyle/>
        <a:p>
          <a:endParaRPr lang="nl-NL" sz="1000"/>
        </a:p>
      </dgm:t>
    </dgm:pt>
    <dgm:pt modelId="{1C057D00-7046-4C92-8845-E659397CD6FE}">
      <dgm:prSet phldrT="[Tekst]" custT="1"/>
      <dgm:spPr/>
      <dgm:t>
        <a:bodyPr/>
        <a:lstStyle/>
        <a:p>
          <a:pPr>
            <a:spcAft>
              <a:spcPts val="600"/>
            </a:spcAft>
            <a:buFont typeface="+mj-lt"/>
            <a:buAutoNum type="alphaLcParenR" startAt="2"/>
          </a:pPr>
          <a:r>
            <a:rPr lang="nl-NL" sz="900"/>
            <a:t>IBP geïntegreerd en geïmplementeerd</a:t>
          </a:r>
        </a:p>
        <a:p>
          <a:pPr>
            <a:spcAft>
              <a:spcPts val="600"/>
            </a:spcAft>
            <a:buFont typeface="+mj-lt"/>
            <a:buAutoNum type="alphaLcParenR" startAt="2"/>
          </a:pPr>
          <a:r>
            <a:rPr lang="nl-NL" sz="900"/>
            <a:t>BCM plan en beleid</a:t>
          </a:r>
          <a:endParaRPr lang="nl-NL" sz="900">
            <a:solidFill>
              <a:srgbClr val="C00000"/>
            </a:solidFill>
          </a:endParaRPr>
        </a:p>
      </dgm:t>
    </dgm:pt>
    <dgm:pt modelId="{5CCF2DFA-AA14-4223-93C4-29A2BEE342FE}" type="parTrans" cxnId="{BC9DE52F-0BB5-4ACB-9274-779AEBE21803}">
      <dgm:prSet/>
      <dgm:spPr/>
      <dgm:t>
        <a:bodyPr/>
        <a:lstStyle/>
        <a:p>
          <a:endParaRPr lang="nl-NL" sz="1000"/>
        </a:p>
      </dgm:t>
    </dgm:pt>
    <dgm:pt modelId="{9F92A93D-431C-4D58-AC15-E971BD7417E8}" type="sibTrans" cxnId="{BC9DE52F-0BB5-4ACB-9274-779AEBE21803}">
      <dgm:prSet/>
      <dgm:spPr/>
      <dgm:t>
        <a:bodyPr/>
        <a:lstStyle/>
        <a:p>
          <a:endParaRPr lang="nl-NL" sz="1000"/>
        </a:p>
      </dgm:t>
    </dgm:pt>
    <dgm:pt modelId="{1D0431D3-64B3-4A2A-BC98-318609876B89}">
      <dgm:prSet phldrT="[Tekst]" custT="1"/>
      <dgm:spPr>
        <a:solidFill>
          <a:srgbClr val="C00000"/>
        </a:solidFill>
        <a:ln>
          <a:solidFill>
            <a:schemeClr val="bg1"/>
          </a:solidFill>
        </a:ln>
      </dgm:spPr>
      <dgm:t>
        <a:bodyPr/>
        <a:lstStyle/>
        <a:p>
          <a:r>
            <a:rPr lang="nl-NL" sz="1000">
              <a:solidFill>
                <a:schemeClr val="bg1"/>
              </a:solidFill>
            </a:rPr>
            <a:t>Modernisering</a:t>
          </a:r>
        </a:p>
      </dgm:t>
    </dgm:pt>
    <dgm:pt modelId="{8F056A3C-46EE-4105-96AC-805B07284C64}" type="parTrans" cxnId="{CA0D4426-5DC5-4E15-8CD4-69B9B9213E44}">
      <dgm:prSet/>
      <dgm:spPr/>
      <dgm:t>
        <a:bodyPr/>
        <a:lstStyle/>
        <a:p>
          <a:endParaRPr lang="nl-NL" sz="1000"/>
        </a:p>
      </dgm:t>
    </dgm:pt>
    <dgm:pt modelId="{8B27C768-6F47-4415-9EAC-93F37110362D}" type="sibTrans" cxnId="{CA0D4426-5DC5-4E15-8CD4-69B9B9213E44}">
      <dgm:prSet/>
      <dgm:spPr/>
      <dgm:t>
        <a:bodyPr/>
        <a:lstStyle/>
        <a:p>
          <a:endParaRPr lang="nl-NL" sz="1000"/>
        </a:p>
      </dgm:t>
    </dgm:pt>
    <dgm:pt modelId="{C0C666D5-C6AE-48A4-8BEB-1E0B4423CC7F}">
      <dgm:prSet phldrT="[Tekst]" custT="1"/>
      <dgm:spPr>
        <a:solidFill>
          <a:schemeClr val="accent1">
            <a:lumMod val="90000"/>
            <a:alpha val="90000"/>
          </a:schemeClr>
        </a:solidFill>
      </dgm:spPr>
      <dgm:t>
        <a:bodyPr/>
        <a:lstStyle/>
        <a:p>
          <a:pPr>
            <a:spcAft>
              <a:spcPts val="600"/>
            </a:spcAft>
            <a:buFont typeface="Arial" panose="020B0604020202020204" pitchFamily="34" charset="0"/>
            <a:buChar char="•"/>
          </a:pPr>
          <a:r>
            <a:rPr lang="nl-NL" sz="900"/>
            <a:t>Europese Aanbesteding nieuwbouw websites en beheer</a:t>
          </a:r>
        </a:p>
        <a:p>
          <a:pPr>
            <a:spcAft>
              <a:spcPts val="600"/>
            </a:spcAft>
            <a:buFont typeface="Arial" panose="020B0604020202020204" pitchFamily="34" charset="0"/>
            <a:buChar char="•"/>
          </a:pPr>
          <a:r>
            <a:rPr lang="nl-NL" sz="900"/>
            <a:t>Europese Aanbesteding voor ICT-componenten</a:t>
          </a:r>
        </a:p>
        <a:p>
          <a:pPr>
            <a:spcAft>
              <a:spcPts val="600"/>
            </a:spcAft>
            <a:buFont typeface="Arial" panose="020B0604020202020204" pitchFamily="34" charset="0"/>
            <a:buChar char="•"/>
          </a:pPr>
          <a:r>
            <a:rPr lang="nl-NL" sz="900"/>
            <a:t>Quartz Wbtv</a:t>
          </a:r>
        </a:p>
      </dgm:t>
    </dgm:pt>
    <dgm:pt modelId="{7BCAD824-9F6C-4E51-8307-99177976A87F}" type="parTrans" cxnId="{3BB2DC6F-AEAE-401D-A71C-27E6D32EC4FB}">
      <dgm:prSet/>
      <dgm:spPr/>
      <dgm:t>
        <a:bodyPr/>
        <a:lstStyle/>
        <a:p>
          <a:endParaRPr lang="nl-NL" sz="1000"/>
        </a:p>
      </dgm:t>
    </dgm:pt>
    <dgm:pt modelId="{DEFB9FE7-85F7-46CA-BCD3-991BFEB6948F}" type="sibTrans" cxnId="{3BB2DC6F-AEAE-401D-A71C-27E6D32EC4FB}">
      <dgm:prSet/>
      <dgm:spPr/>
      <dgm:t>
        <a:bodyPr/>
        <a:lstStyle/>
        <a:p>
          <a:endParaRPr lang="nl-NL" sz="1000"/>
        </a:p>
      </dgm:t>
    </dgm:pt>
    <dgm:pt modelId="{1DD1AC1D-B569-457A-ABD8-ECBDB05C5B6B}">
      <dgm:prSet phldrT="[Tekst]" custT="1"/>
      <dgm:spPr/>
      <dgm:t>
        <a:bodyPr/>
        <a:lstStyle/>
        <a:p>
          <a:pPr>
            <a:spcAft>
              <a:spcPts val="600"/>
            </a:spcAft>
            <a:buClrTx/>
            <a:buSzTx/>
            <a:buFont typeface="Arial" panose="020B0604020202020204" pitchFamily="34" charset="0"/>
            <a:buChar char="•"/>
          </a:pPr>
          <a:r>
            <a:rPr lang="nl-NL" sz="900"/>
            <a:t>RBV-portaal bouwen</a:t>
          </a:r>
        </a:p>
        <a:p>
          <a:pPr>
            <a:spcAft>
              <a:spcPts val="600"/>
            </a:spcAft>
            <a:buClrTx/>
            <a:buSzTx/>
            <a:buFont typeface="Arial" panose="020B0604020202020204" pitchFamily="34" charset="0"/>
            <a:buChar char="•"/>
          </a:pPr>
          <a:r>
            <a:rPr lang="nl-NL" sz="900"/>
            <a:t>Websites bouwen</a:t>
          </a:r>
        </a:p>
        <a:p>
          <a:pPr>
            <a:spcAft>
              <a:spcPts val="600"/>
            </a:spcAft>
            <a:buClrTx/>
            <a:buSzTx/>
            <a:buFont typeface="Arial" panose="020B0604020202020204" pitchFamily="34" charset="0"/>
            <a:buChar char="•"/>
          </a:pPr>
          <a:r>
            <a:rPr lang="nl-NL" sz="900"/>
            <a:t>Piketapplicatie realiseren</a:t>
          </a:r>
          <a:endParaRPr lang="nl-NL" sz="900">
            <a:solidFill>
              <a:srgbClr val="C00000"/>
            </a:solidFill>
          </a:endParaRPr>
        </a:p>
      </dgm:t>
    </dgm:pt>
    <dgm:pt modelId="{E1011E1B-B118-4875-B78A-2BFFE230438F}" type="parTrans" cxnId="{03C42A38-BDB9-4D6B-A478-6FFCEEADCCBC}">
      <dgm:prSet/>
      <dgm:spPr/>
      <dgm:t>
        <a:bodyPr/>
        <a:lstStyle/>
        <a:p>
          <a:endParaRPr lang="nl-NL" sz="1000"/>
        </a:p>
      </dgm:t>
    </dgm:pt>
    <dgm:pt modelId="{B22F1A8F-FD9D-4176-86A1-F295A23BFA9F}" type="sibTrans" cxnId="{03C42A38-BDB9-4D6B-A478-6FFCEEADCCBC}">
      <dgm:prSet/>
      <dgm:spPr/>
      <dgm:t>
        <a:bodyPr/>
        <a:lstStyle/>
        <a:p>
          <a:endParaRPr lang="nl-NL" sz="1000"/>
        </a:p>
      </dgm:t>
    </dgm:pt>
    <dgm:pt modelId="{0EEE7DE5-2B00-458B-BCAB-CB504BAD12E7}">
      <dgm:prSet custT="1"/>
      <dgm:spPr/>
      <dgm:t>
        <a:bodyPr/>
        <a:lstStyle/>
        <a:p>
          <a:endParaRPr lang="nl-NL" sz="900"/>
        </a:p>
      </dgm:t>
    </dgm:pt>
    <dgm:pt modelId="{BE541403-E310-4737-9C4F-EFF537A3BC21}" type="parTrans" cxnId="{41A7473E-0FAD-4341-A72C-25CA87F1ADE8}">
      <dgm:prSet/>
      <dgm:spPr/>
      <dgm:t>
        <a:bodyPr/>
        <a:lstStyle/>
        <a:p>
          <a:endParaRPr lang="nl-NL" sz="1000"/>
        </a:p>
      </dgm:t>
    </dgm:pt>
    <dgm:pt modelId="{9F4A5B04-0051-4F5D-9849-79FF15B78EF0}" type="sibTrans" cxnId="{41A7473E-0FAD-4341-A72C-25CA87F1ADE8}">
      <dgm:prSet/>
      <dgm:spPr/>
      <dgm:t>
        <a:bodyPr/>
        <a:lstStyle/>
        <a:p>
          <a:endParaRPr lang="nl-NL" sz="1000"/>
        </a:p>
      </dgm:t>
    </dgm:pt>
    <dgm:pt modelId="{1F00858C-756E-438F-ACFC-655C02058CEA}">
      <dgm:prSet custT="1"/>
      <dgm:spPr/>
      <dgm:t>
        <a:bodyPr/>
        <a:lstStyle/>
        <a:p>
          <a:endParaRPr lang="nl-NL" sz="900"/>
        </a:p>
      </dgm:t>
    </dgm:pt>
    <dgm:pt modelId="{3C5879BC-6281-4669-8BEF-2E0C6AD6F405}" type="parTrans" cxnId="{C355C560-CE03-445B-A62A-70AC2F8C5F66}">
      <dgm:prSet/>
      <dgm:spPr/>
      <dgm:t>
        <a:bodyPr/>
        <a:lstStyle/>
        <a:p>
          <a:endParaRPr lang="nl-NL" sz="1000"/>
        </a:p>
      </dgm:t>
    </dgm:pt>
    <dgm:pt modelId="{E87351C3-C3F4-4BF9-BC9D-FD82FB04DFC6}" type="sibTrans" cxnId="{C355C560-CE03-445B-A62A-70AC2F8C5F66}">
      <dgm:prSet/>
      <dgm:spPr/>
      <dgm:t>
        <a:bodyPr/>
        <a:lstStyle/>
        <a:p>
          <a:endParaRPr lang="nl-NL" sz="1000"/>
        </a:p>
      </dgm:t>
    </dgm:pt>
    <dgm:pt modelId="{2B87F55F-3DDA-4DB8-85DC-69C630658C4A}">
      <dgm:prSet custT="1"/>
      <dgm:spPr/>
      <dgm:t>
        <a:bodyPr/>
        <a:lstStyle/>
        <a:p>
          <a:endParaRPr lang="nl-NL" sz="900"/>
        </a:p>
      </dgm:t>
    </dgm:pt>
    <dgm:pt modelId="{E458CF27-D025-4F7B-B018-63E3837B169F}" type="parTrans" cxnId="{2E6CD061-5211-49EC-9292-53AC3A9AD1E4}">
      <dgm:prSet/>
      <dgm:spPr/>
      <dgm:t>
        <a:bodyPr/>
        <a:lstStyle/>
        <a:p>
          <a:endParaRPr lang="nl-NL" sz="1000"/>
        </a:p>
      </dgm:t>
    </dgm:pt>
    <dgm:pt modelId="{DE6A453F-2629-4B65-903F-D41D3D5F3A92}" type="sibTrans" cxnId="{2E6CD061-5211-49EC-9292-53AC3A9AD1E4}">
      <dgm:prSet/>
      <dgm:spPr/>
      <dgm:t>
        <a:bodyPr/>
        <a:lstStyle/>
        <a:p>
          <a:endParaRPr lang="nl-NL" sz="1000"/>
        </a:p>
      </dgm:t>
    </dgm:pt>
    <dgm:pt modelId="{23193460-2B00-4BBA-B2EF-55CC2B44251D}">
      <dgm:prSet custT="1"/>
      <dgm:spPr>
        <a:solidFill>
          <a:srgbClr val="C00000"/>
        </a:solidFill>
        <a:ln>
          <a:solidFill>
            <a:schemeClr val="bg1"/>
          </a:solidFill>
        </a:ln>
      </dgm:spPr>
      <dgm:t>
        <a:bodyPr/>
        <a:lstStyle/>
        <a:p>
          <a:r>
            <a:rPr lang="nl-NL" sz="1000">
              <a:solidFill>
                <a:schemeClr val="bg1"/>
              </a:solidFill>
            </a:rPr>
            <a:t>Digitalisering</a:t>
          </a:r>
        </a:p>
      </dgm:t>
    </dgm:pt>
    <dgm:pt modelId="{9039EAD3-CDDB-4CC8-A3AF-7A425DFF7FAF}" type="parTrans" cxnId="{9B937BAE-08F9-42AE-AC98-6AD3DC9FA8CB}">
      <dgm:prSet/>
      <dgm:spPr/>
      <dgm:t>
        <a:bodyPr/>
        <a:lstStyle/>
        <a:p>
          <a:endParaRPr lang="nl-NL" sz="1000"/>
        </a:p>
      </dgm:t>
    </dgm:pt>
    <dgm:pt modelId="{B40E2452-A66F-4500-9BFD-26EFE8F1C46C}" type="sibTrans" cxnId="{9B937BAE-08F9-42AE-AC98-6AD3DC9FA8CB}">
      <dgm:prSet/>
      <dgm:spPr/>
      <dgm:t>
        <a:bodyPr/>
        <a:lstStyle/>
        <a:p>
          <a:endParaRPr lang="nl-NL" sz="1000"/>
        </a:p>
      </dgm:t>
    </dgm:pt>
    <dgm:pt modelId="{77057A3B-3645-4900-95DC-090CD2DB9683}">
      <dgm:prSet custT="1"/>
      <dgm:spPr>
        <a:solidFill>
          <a:srgbClr val="C00000"/>
        </a:solidFill>
        <a:ln>
          <a:solidFill>
            <a:schemeClr val="bg1"/>
          </a:solidFill>
        </a:ln>
      </dgm:spPr>
      <dgm:t>
        <a:bodyPr/>
        <a:lstStyle/>
        <a:p>
          <a:r>
            <a:rPr lang="nl-NL" sz="1000">
              <a:solidFill>
                <a:schemeClr val="bg1"/>
              </a:solidFill>
            </a:rPr>
            <a:t>Organisatie</a:t>
          </a:r>
        </a:p>
      </dgm:t>
    </dgm:pt>
    <dgm:pt modelId="{0EC6A81B-C8FD-4EEF-8570-8C98DBB1A73C}" type="parTrans" cxnId="{1F843F8A-097C-4D1E-8BE9-55D51C74877D}">
      <dgm:prSet/>
      <dgm:spPr/>
      <dgm:t>
        <a:bodyPr/>
        <a:lstStyle/>
        <a:p>
          <a:endParaRPr lang="nl-NL" sz="1000"/>
        </a:p>
      </dgm:t>
    </dgm:pt>
    <dgm:pt modelId="{7A3E30EB-3E1C-4BF9-8CCF-CAA3571ACFB7}" type="sibTrans" cxnId="{1F843F8A-097C-4D1E-8BE9-55D51C74877D}">
      <dgm:prSet/>
      <dgm:spPr/>
      <dgm:t>
        <a:bodyPr/>
        <a:lstStyle/>
        <a:p>
          <a:endParaRPr lang="nl-NL" sz="1000"/>
        </a:p>
      </dgm:t>
    </dgm:pt>
    <dgm:pt modelId="{746BBA83-FC51-4B44-8C3D-F93ACED5A830}">
      <dgm:prSet custT="1"/>
      <dgm:spPr/>
      <dgm:t>
        <a:bodyPr/>
        <a:lstStyle/>
        <a:p>
          <a:endParaRPr lang="nl-NL" sz="900"/>
        </a:p>
      </dgm:t>
    </dgm:pt>
    <dgm:pt modelId="{43D31E03-9F7F-4CDB-BA1E-5B60E76E75A0}" type="parTrans" cxnId="{5C8C9688-845D-407B-8262-856083BB8B02}">
      <dgm:prSet/>
      <dgm:spPr/>
      <dgm:t>
        <a:bodyPr/>
        <a:lstStyle/>
        <a:p>
          <a:endParaRPr lang="nl-NL" sz="1000"/>
        </a:p>
      </dgm:t>
    </dgm:pt>
    <dgm:pt modelId="{645A86AD-7CFE-406C-A490-80E89BBD3A4A}" type="sibTrans" cxnId="{5C8C9688-845D-407B-8262-856083BB8B02}">
      <dgm:prSet/>
      <dgm:spPr/>
      <dgm:t>
        <a:bodyPr/>
        <a:lstStyle/>
        <a:p>
          <a:endParaRPr lang="nl-NL" sz="1000"/>
        </a:p>
      </dgm:t>
    </dgm:pt>
    <dgm:pt modelId="{20446483-3131-45C6-9B63-8672E75978B6}">
      <dgm:prSet custT="1"/>
      <dgm:spPr/>
      <dgm:t>
        <a:bodyPr/>
        <a:lstStyle/>
        <a:p>
          <a:endParaRPr lang="nl-NL" sz="900"/>
        </a:p>
      </dgm:t>
    </dgm:pt>
    <dgm:pt modelId="{C592FC82-2CCB-41D1-AB19-C1027B3220DC}" type="parTrans" cxnId="{6AC51181-18CA-4071-8671-E723CB2F83E3}">
      <dgm:prSet/>
      <dgm:spPr/>
      <dgm:t>
        <a:bodyPr/>
        <a:lstStyle/>
        <a:p>
          <a:endParaRPr lang="nl-NL" sz="1000"/>
        </a:p>
      </dgm:t>
    </dgm:pt>
    <dgm:pt modelId="{744972D6-F7F9-4325-9F4B-A70060987F27}" type="sibTrans" cxnId="{6AC51181-18CA-4071-8671-E723CB2F83E3}">
      <dgm:prSet/>
      <dgm:spPr/>
      <dgm:t>
        <a:bodyPr/>
        <a:lstStyle/>
        <a:p>
          <a:endParaRPr lang="nl-NL" sz="1000"/>
        </a:p>
      </dgm:t>
    </dgm:pt>
    <dgm:pt modelId="{6CE1A86C-5E74-4ADB-95CE-83D1024B8A1B}">
      <dgm:prSet custT="1"/>
      <dgm:spPr/>
      <dgm:t>
        <a:bodyPr/>
        <a:lstStyle/>
        <a:p>
          <a:endParaRPr lang="nl-NL" sz="900"/>
        </a:p>
      </dgm:t>
    </dgm:pt>
    <dgm:pt modelId="{E68E1A5A-6E88-458A-8CB9-F2B234C35568}" type="parTrans" cxnId="{20E0196F-EDD9-474A-9FAF-DF8543639C6C}">
      <dgm:prSet/>
      <dgm:spPr/>
      <dgm:t>
        <a:bodyPr/>
        <a:lstStyle/>
        <a:p>
          <a:endParaRPr lang="nl-NL" sz="1000"/>
        </a:p>
      </dgm:t>
    </dgm:pt>
    <dgm:pt modelId="{CCAC4F14-E3B3-4CA3-9BF7-C73D5E00EE32}" type="sibTrans" cxnId="{20E0196F-EDD9-474A-9FAF-DF8543639C6C}">
      <dgm:prSet/>
      <dgm:spPr/>
      <dgm:t>
        <a:bodyPr/>
        <a:lstStyle/>
        <a:p>
          <a:endParaRPr lang="nl-NL" sz="1000"/>
        </a:p>
      </dgm:t>
    </dgm:pt>
    <dgm:pt modelId="{66E39E7D-DC2E-4284-993D-AFD4E5E98986}">
      <dgm:prSet custT="1"/>
      <dgm:spPr/>
      <dgm:t>
        <a:bodyPr/>
        <a:lstStyle/>
        <a:p>
          <a:endParaRPr lang="nl-NL" sz="900"/>
        </a:p>
      </dgm:t>
    </dgm:pt>
    <dgm:pt modelId="{D2917CAC-F82A-46EF-A20B-2F4A2F94E9FF}" type="parTrans" cxnId="{7B088858-B74C-43E2-9BE5-068D5D9E1AEB}">
      <dgm:prSet/>
      <dgm:spPr/>
      <dgm:t>
        <a:bodyPr/>
        <a:lstStyle/>
        <a:p>
          <a:endParaRPr lang="nl-NL" sz="1000"/>
        </a:p>
      </dgm:t>
    </dgm:pt>
    <dgm:pt modelId="{57835AF8-C1FC-4BCA-8913-7836892EA37D}" type="sibTrans" cxnId="{7B088858-B74C-43E2-9BE5-068D5D9E1AEB}">
      <dgm:prSet/>
      <dgm:spPr/>
      <dgm:t>
        <a:bodyPr/>
        <a:lstStyle/>
        <a:p>
          <a:endParaRPr lang="nl-NL" sz="1000"/>
        </a:p>
      </dgm:t>
    </dgm:pt>
    <dgm:pt modelId="{82B4419E-EA02-41F8-8851-D338BCF00BF0}">
      <dgm:prSet custT="1"/>
      <dgm:spPr/>
      <dgm:t>
        <a:bodyPr/>
        <a:lstStyle/>
        <a:p>
          <a:endParaRPr lang="nl-NL" sz="900"/>
        </a:p>
      </dgm:t>
    </dgm:pt>
    <dgm:pt modelId="{7A7B7C56-B4C7-4671-B013-0CA3A660B3FD}" type="parTrans" cxnId="{1E19AF31-A63C-4F46-B482-F715C1BB40D5}">
      <dgm:prSet/>
      <dgm:spPr/>
      <dgm:t>
        <a:bodyPr/>
        <a:lstStyle/>
        <a:p>
          <a:endParaRPr lang="nl-NL" sz="1000"/>
        </a:p>
      </dgm:t>
    </dgm:pt>
    <dgm:pt modelId="{90965BCE-1684-471D-AE9E-22ADC4D55E40}" type="sibTrans" cxnId="{1E19AF31-A63C-4F46-B482-F715C1BB40D5}">
      <dgm:prSet/>
      <dgm:spPr/>
      <dgm:t>
        <a:bodyPr/>
        <a:lstStyle/>
        <a:p>
          <a:endParaRPr lang="nl-NL" sz="1000"/>
        </a:p>
      </dgm:t>
    </dgm:pt>
    <dgm:pt modelId="{151429BB-703C-4837-AEAE-FB6E3DE6D505}">
      <dgm:prSet custT="1"/>
      <dgm:spPr/>
      <dgm:t>
        <a:bodyPr/>
        <a:lstStyle/>
        <a:p>
          <a:r>
            <a:rPr lang="nl-NL" sz="900"/>
            <a:t>BCM op orde en geïntegreerd </a:t>
          </a:r>
        </a:p>
      </dgm:t>
    </dgm:pt>
    <dgm:pt modelId="{CE2A0741-45C2-4BEA-BD64-023BC7622332}" type="parTrans" cxnId="{8F30F11D-E87C-429F-A3B7-14360FA410AD}">
      <dgm:prSet/>
      <dgm:spPr/>
      <dgm:t>
        <a:bodyPr/>
        <a:lstStyle/>
        <a:p>
          <a:endParaRPr lang="nl-NL" sz="1000"/>
        </a:p>
      </dgm:t>
    </dgm:pt>
    <dgm:pt modelId="{31B627E5-D5DC-4932-8CC6-E7930B6676D9}" type="sibTrans" cxnId="{8F30F11D-E87C-429F-A3B7-14360FA410AD}">
      <dgm:prSet/>
      <dgm:spPr/>
      <dgm:t>
        <a:bodyPr/>
        <a:lstStyle/>
        <a:p>
          <a:endParaRPr lang="nl-NL" sz="1000"/>
        </a:p>
      </dgm:t>
    </dgm:pt>
    <dgm:pt modelId="{4E20D29C-B6C9-440B-AFF3-AEF13A3A4C36}">
      <dgm:prSet custT="1"/>
      <dgm:spPr/>
      <dgm:t>
        <a:bodyPr/>
        <a:lstStyle/>
        <a:p>
          <a:pPr>
            <a:spcAft>
              <a:spcPts val="600"/>
            </a:spcAft>
          </a:pPr>
          <a:r>
            <a:rPr lang="nl-NL" sz="900"/>
            <a:t>Oude </a:t>
          </a:r>
          <a:r>
            <a:rPr lang="nl-NL" sz="900" err="1"/>
            <a:t>MijnRvR</a:t>
          </a:r>
          <a:r>
            <a:rPr lang="nl-NL" sz="900"/>
            <a:t> </a:t>
          </a:r>
          <a:r>
            <a:rPr lang="nl-NL" sz="900" err="1"/>
            <a:t>uitfaseren</a:t>
          </a:r>
          <a:endParaRPr lang="nl-NL" sz="900"/>
        </a:p>
        <a:p>
          <a:pPr>
            <a:spcAft>
              <a:spcPts val="600"/>
            </a:spcAft>
          </a:pPr>
          <a:r>
            <a:rPr lang="nl-NL" sz="900"/>
            <a:t>Oude </a:t>
          </a:r>
          <a:r>
            <a:rPr lang="nl-NL" sz="900" err="1"/>
            <a:t>integratielaag</a:t>
          </a:r>
          <a:r>
            <a:rPr lang="nl-NL" sz="900"/>
            <a:t> en brieventool </a:t>
          </a:r>
          <a:r>
            <a:rPr lang="nl-NL" sz="900" err="1"/>
            <a:t>uitfaseren</a:t>
          </a:r>
          <a:endParaRPr lang="nl-NL" sz="900"/>
        </a:p>
      </dgm:t>
    </dgm:pt>
    <dgm:pt modelId="{0AC3526D-14AD-4864-BC54-CA2EC525943F}" type="parTrans" cxnId="{20329975-211D-4A3A-8C0F-DD54C84AD3BD}">
      <dgm:prSet/>
      <dgm:spPr/>
      <dgm:t>
        <a:bodyPr/>
        <a:lstStyle/>
        <a:p>
          <a:endParaRPr lang="nl-NL" sz="1000"/>
        </a:p>
      </dgm:t>
    </dgm:pt>
    <dgm:pt modelId="{18736C93-2A1D-4F22-8952-5A44ED9B99A1}" type="sibTrans" cxnId="{20329975-211D-4A3A-8C0F-DD54C84AD3BD}">
      <dgm:prSet/>
      <dgm:spPr/>
      <dgm:t>
        <a:bodyPr/>
        <a:lstStyle/>
        <a:p>
          <a:endParaRPr lang="nl-NL" sz="1000"/>
        </a:p>
      </dgm:t>
    </dgm:pt>
    <dgm:pt modelId="{AA8DBEC3-5730-473F-B244-820415D3B97D}">
      <dgm:prSet custT="1"/>
      <dgm:spPr/>
      <dgm:t>
        <a:bodyPr/>
        <a:lstStyle/>
        <a:p>
          <a:r>
            <a:rPr lang="nl-NL" sz="900"/>
            <a:t>Vervangen maatwerk database- en workflow-applicatie </a:t>
          </a:r>
        </a:p>
      </dgm:t>
    </dgm:pt>
    <dgm:pt modelId="{FF21C5BA-C31C-4EE9-8435-9F3E74196BB2}" type="parTrans" cxnId="{A19ED3F0-D3F5-4544-A864-F0CB4CCF69B9}">
      <dgm:prSet/>
      <dgm:spPr/>
      <dgm:t>
        <a:bodyPr/>
        <a:lstStyle/>
        <a:p>
          <a:endParaRPr lang="nl-NL" sz="1000"/>
        </a:p>
      </dgm:t>
    </dgm:pt>
    <dgm:pt modelId="{016D74AE-0885-463A-8830-0E4EE253A780}" type="sibTrans" cxnId="{A19ED3F0-D3F5-4544-A864-F0CB4CCF69B9}">
      <dgm:prSet/>
      <dgm:spPr/>
      <dgm:t>
        <a:bodyPr/>
        <a:lstStyle/>
        <a:p>
          <a:endParaRPr lang="nl-NL" sz="1000"/>
        </a:p>
      </dgm:t>
    </dgm:pt>
    <dgm:pt modelId="{1CEA679C-96CA-460E-AC4E-1582F3BE9109}">
      <dgm:prSet custT="1"/>
      <dgm:spPr>
        <a:solidFill>
          <a:schemeClr val="accent1">
            <a:lumMod val="90000"/>
            <a:alpha val="90000"/>
          </a:schemeClr>
        </a:solidFill>
      </dgm:spPr>
      <dgm:t>
        <a:bodyPr/>
        <a:lstStyle/>
        <a:p>
          <a:r>
            <a:rPr lang="nl-NL" sz="900"/>
            <a:t>Piketdeclaraties</a:t>
          </a:r>
        </a:p>
      </dgm:t>
    </dgm:pt>
    <dgm:pt modelId="{142C46B5-687D-479B-9E79-40DA7F5DEF44}" type="parTrans" cxnId="{FF888F5F-DB76-4362-9E36-8483708879BB}">
      <dgm:prSet/>
      <dgm:spPr/>
      <dgm:t>
        <a:bodyPr/>
        <a:lstStyle/>
        <a:p>
          <a:endParaRPr lang="nl-NL" sz="1000"/>
        </a:p>
      </dgm:t>
    </dgm:pt>
    <dgm:pt modelId="{6F495585-C16D-46B3-BD6D-CD5560F9DB86}" type="sibTrans" cxnId="{FF888F5F-DB76-4362-9E36-8483708879BB}">
      <dgm:prSet/>
      <dgm:spPr/>
      <dgm:t>
        <a:bodyPr/>
        <a:lstStyle/>
        <a:p>
          <a:endParaRPr lang="nl-NL" sz="1000"/>
        </a:p>
      </dgm:t>
    </dgm:pt>
    <dgm:pt modelId="{9A17E9D9-E8F2-4A3D-B3C2-0BF77FF6D42E}">
      <dgm:prSet custT="1"/>
      <dgm:spPr/>
      <dgm:t>
        <a:bodyPr/>
        <a:lstStyle/>
        <a:p>
          <a:pPr>
            <a:spcAft>
              <a:spcPts val="600"/>
            </a:spcAft>
          </a:pPr>
          <a:r>
            <a:rPr lang="nl-NL" sz="900" dirty="0" err="1"/>
            <a:t>Mediation</a:t>
          </a:r>
          <a:r>
            <a:rPr lang="nl-NL" sz="900" dirty="0"/>
            <a:t> proces</a:t>
          </a:r>
        </a:p>
        <a:p>
          <a:pPr>
            <a:spcAft>
              <a:spcPts val="600"/>
            </a:spcAft>
          </a:pPr>
          <a:r>
            <a:rPr lang="nl-NL" sz="900" dirty="0"/>
            <a:t>Beroep- &amp; bezwaarprocessen</a:t>
          </a:r>
        </a:p>
        <a:p>
          <a:pPr>
            <a:spcAft>
              <a:spcPts val="600"/>
            </a:spcAft>
          </a:pPr>
          <a:r>
            <a:rPr lang="nl-NL" sz="900" dirty="0"/>
            <a:t>Proces asielaanvragen</a:t>
          </a:r>
        </a:p>
        <a:p>
          <a:pPr>
            <a:spcAft>
              <a:spcPts val="600"/>
            </a:spcAft>
          </a:pPr>
          <a:r>
            <a:rPr lang="nl-NL" sz="900" dirty="0"/>
            <a:t>Toevoegen stukken aan dossier</a:t>
          </a:r>
        </a:p>
      </dgm:t>
    </dgm:pt>
    <dgm:pt modelId="{1E3B8620-2598-4AD1-B142-4BF992FCC7D5}" type="parTrans" cxnId="{7BFCD170-6D7A-4815-B43E-FC0D2CF65DDA}">
      <dgm:prSet/>
      <dgm:spPr/>
      <dgm:t>
        <a:bodyPr/>
        <a:lstStyle/>
        <a:p>
          <a:endParaRPr lang="nl-NL" sz="1000"/>
        </a:p>
      </dgm:t>
    </dgm:pt>
    <dgm:pt modelId="{E69B4927-D436-46DC-B02B-BBE2B2FB337F}" type="sibTrans" cxnId="{7BFCD170-6D7A-4815-B43E-FC0D2CF65DDA}">
      <dgm:prSet/>
      <dgm:spPr/>
      <dgm:t>
        <a:bodyPr/>
        <a:lstStyle/>
        <a:p>
          <a:endParaRPr lang="nl-NL" sz="1000"/>
        </a:p>
      </dgm:t>
    </dgm:pt>
    <dgm:pt modelId="{7EDDC5A2-9A6F-4101-B5CB-77EDED0EB09F}">
      <dgm:prSet custT="1"/>
      <dgm:spPr/>
      <dgm:t>
        <a:bodyPr/>
        <a:lstStyle/>
        <a:p>
          <a:r>
            <a:rPr lang="nl-NL" sz="900"/>
            <a:t>(Proces extra uren)</a:t>
          </a:r>
        </a:p>
        <a:p>
          <a:r>
            <a:rPr lang="nl-NL" sz="900"/>
            <a:t>Lasten proces</a:t>
          </a:r>
        </a:p>
      </dgm:t>
    </dgm:pt>
    <dgm:pt modelId="{994A2668-1209-4FF4-84C6-EBEFEE5719F7}" type="parTrans" cxnId="{3C475407-F480-4626-964A-7BA9A53E8463}">
      <dgm:prSet/>
      <dgm:spPr/>
      <dgm:t>
        <a:bodyPr/>
        <a:lstStyle/>
        <a:p>
          <a:endParaRPr lang="nl-NL" sz="1000"/>
        </a:p>
      </dgm:t>
    </dgm:pt>
    <dgm:pt modelId="{6F48EEA3-B2B6-4574-A8AF-5F75DE2E1693}" type="sibTrans" cxnId="{3C475407-F480-4626-964A-7BA9A53E8463}">
      <dgm:prSet/>
      <dgm:spPr/>
      <dgm:t>
        <a:bodyPr/>
        <a:lstStyle/>
        <a:p>
          <a:endParaRPr lang="nl-NL" sz="1000"/>
        </a:p>
      </dgm:t>
    </dgm:pt>
    <dgm:pt modelId="{27A89387-7B3B-4188-A28B-6E38537CFD19}">
      <dgm:prSet custT="1"/>
      <dgm:spPr>
        <a:solidFill>
          <a:schemeClr val="accent1">
            <a:lumMod val="90000"/>
            <a:alpha val="90000"/>
          </a:schemeClr>
        </a:solidFill>
      </dgm:spPr>
      <dgm:t>
        <a:bodyPr/>
        <a:lstStyle/>
        <a:p>
          <a:pPr>
            <a:spcAft>
              <a:spcPts val="400"/>
            </a:spcAft>
          </a:pPr>
          <a:r>
            <a:rPr lang="nl-NL" sz="900"/>
            <a:t>Inrichting (ICT) Portfoliomanagement</a:t>
          </a:r>
        </a:p>
        <a:p>
          <a:pPr>
            <a:spcAft>
              <a:spcPts val="400"/>
            </a:spcAft>
          </a:pPr>
          <a:r>
            <a:rPr lang="nl-NL" sz="900"/>
            <a:t>Inrichting CIO Office</a:t>
          </a:r>
        </a:p>
        <a:p>
          <a:pPr>
            <a:spcAft>
              <a:spcPts val="400"/>
            </a:spcAft>
          </a:pPr>
          <a:r>
            <a:rPr lang="nl-NL" sz="900"/>
            <a:t>Professionalisering IM-organisatie</a:t>
          </a:r>
        </a:p>
        <a:p>
          <a:pPr>
            <a:spcAft>
              <a:spcPts val="400"/>
            </a:spcAft>
          </a:pPr>
          <a:r>
            <a:rPr lang="nl-NL" sz="900"/>
            <a:t>Ontwikkeling en beheer samenbrengen</a:t>
          </a:r>
        </a:p>
      </dgm:t>
    </dgm:pt>
    <dgm:pt modelId="{3740C790-FB91-4EEF-9193-83BDD7896895}" type="parTrans" cxnId="{0F2B4D9A-D250-4509-8C2D-04C9963529A6}">
      <dgm:prSet/>
      <dgm:spPr/>
      <dgm:t>
        <a:bodyPr/>
        <a:lstStyle/>
        <a:p>
          <a:endParaRPr lang="nl-NL" sz="1000"/>
        </a:p>
      </dgm:t>
    </dgm:pt>
    <dgm:pt modelId="{FCD6D5E8-E559-4B35-8AD2-0764F3E4CB3B}" type="sibTrans" cxnId="{0F2B4D9A-D250-4509-8C2D-04C9963529A6}">
      <dgm:prSet/>
      <dgm:spPr/>
      <dgm:t>
        <a:bodyPr/>
        <a:lstStyle/>
        <a:p>
          <a:endParaRPr lang="nl-NL" sz="1000"/>
        </a:p>
      </dgm:t>
    </dgm:pt>
    <dgm:pt modelId="{6292E6EC-41DE-43DC-8EBD-D60A29E30E3A}">
      <dgm:prSet custT="1"/>
      <dgm:spPr/>
      <dgm:t>
        <a:bodyPr lIns="0"/>
        <a:lstStyle/>
        <a:p>
          <a:pPr>
            <a:spcAft>
              <a:spcPts val="400"/>
            </a:spcAft>
          </a:pPr>
          <a:r>
            <a:rPr lang="nl-NL" sz="900"/>
            <a:t>Inrichting Leveranciers- &amp; contractmanagement</a:t>
          </a:r>
        </a:p>
        <a:p>
          <a:pPr>
            <a:spcAft>
              <a:spcPts val="400"/>
            </a:spcAft>
          </a:pPr>
          <a:r>
            <a:rPr lang="nl-NL" sz="900"/>
            <a:t>Functieprofielen IM</a:t>
          </a:r>
        </a:p>
        <a:p>
          <a:pPr>
            <a:spcAft>
              <a:spcPts val="400"/>
            </a:spcAft>
          </a:pPr>
          <a:r>
            <a:rPr lang="nl-NL" sz="900"/>
            <a:t>Professionalisering ICT inkoop</a:t>
          </a:r>
        </a:p>
        <a:p>
          <a:pPr>
            <a:spcAft>
              <a:spcPts val="400"/>
            </a:spcAft>
          </a:pPr>
          <a:r>
            <a:rPr lang="nl-NL" sz="900"/>
            <a:t>Data </a:t>
          </a:r>
          <a:r>
            <a:rPr lang="nl-NL" sz="900" err="1"/>
            <a:t>Governance</a:t>
          </a:r>
          <a:endParaRPr lang="nl-NL" sz="900"/>
        </a:p>
      </dgm:t>
    </dgm:pt>
    <dgm:pt modelId="{0E4480AF-2094-4189-98C1-03DE33A39523}" type="parTrans" cxnId="{B35D16C5-CE97-4817-8DCB-A32915EBD9A3}">
      <dgm:prSet/>
      <dgm:spPr/>
      <dgm:t>
        <a:bodyPr/>
        <a:lstStyle/>
        <a:p>
          <a:endParaRPr lang="nl-NL" sz="1000"/>
        </a:p>
      </dgm:t>
    </dgm:pt>
    <dgm:pt modelId="{4E923F6B-0FC9-4D73-B3A0-BF03729328D8}" type="sibTrans" cxnId="{B35D16C5-CE97-4817-8DCB-A32915EBD9A3}">
      <dgm:prSet/>
      <dgm:spPr/>
      <dgm:t>
        <a:bodyPr/>
        <a:lstStyle/>
        <a:p>
          <a:endParaRPr lang="nl-NL" sz="1000"/>
        </a:p>
      </dgm:t>
    </dgm:pt>
    <dgm:pt modelId="{C869D024-6F94-4126-B283-6DC434C89154}">
      <dgm:prSet custT="1"/>
      <dgm:spPr/>
      <dgm:t>
        <a:bodyPr/>
        <a:lstStyle/>
        <a:p>
          <a:endParaRPr lang="nl-NL" sz="900"/>
        </a:p>
      </dgm:t>
    </dgm:pt>
    <dgm:pt modelId="{065D051E-7E8B-4B3A-8F40-D8B67EEB97E8}" type="parTrans" cxnId="{7CE56B18-CF79-43BF-AA17-4A5CA53C6967}">
      <dgm:prSet/>
      <dgm:spPr/>
      <dgm:t>
        <a:bodyPr/>
        <a:lstStyle/>
        <a:p>
          <a:endParaRPr lang="nl-NL" sz="1000"/>
        </a:p>
      </dgm:t>
    </dgm:pt>
    <dgm:pt modelId="{16ACF173-BA7E-4685-843F-5588E59D116A}" type="sibTrans" cxnId="{7CE56B18-CF79-43BF-AA17-4A5CA53C6967}">
      <dgm:prSet/>
      <dgm:spPr/>
      <dgm:t>
        <a:bodyPr/>
        <a:lstStyle/>
        <a:p>
          <a:endParaRPr lang="nl-NL" sz="1000"/>
        </a:p>
      </dgm:t>
    </dgm:pt>
    <dgm:pt modelId="{62D61A53-2D9E-484A-A2DF-FA5F8026FDCE}">
      <dgm:prSet custT="1"/>
      <dgm:spPr/>
      <dgm:t>
        <a:bodyPr/>
        <a:lstStyle/>
        <a:p>
          <a:endParaRPr lang="nl-NL" sz="900"/>
        </a:p>
      </dgm:t>
    </dgm:pt>
    <dgm:pt modelId="{378F7EAA-89FC-40D8-A78F-65E528C91DC0}" type="parTrans" cxnId="{40D9CC99-76AD-4E8E-A1AC-7A60971EB6FF}">
      <dgm:prSet/>
      <dgm:spPr/>
      <dgm:t>
        <a:bodyPr/>
        <a:lstStyle/>
        <a:p>
          <a:endParaRPr lang="nl-NL" sz="1000"/>
        </a:p>
      </dgm:t>
    </dgm:pt>
    <dgm:pt modelId="{0741CA5F-C53B-4587-A516-C633F65D31E4}" type="sibTrans" cxnId="{40D9CC99-76AD-4E8E-A1AC-7A60971EB6FF}">
      <dgm:prSet/>
      <dgm:spPr/>
      <dgm:t>
        <a:bodyPr/>
        <a:lstStyle/>
        <a:p>
          <a:endParaRPr lang="nl-NL" sz="1000"/>
        </a:p>
      </dgm:t>
    </dgm:pt>
    <dgm:pt modelId="{8835A891-43B3-4F45-A35D-0FEC54C4FA75}">
      <dgm:prSet custT="1"/>
      <dgm:spPr/>
      <dgm:t>
        <a:bodyPr/>
        <a:lstStyle/>
        <a:p>
          <a:endParaRPr lang="nl-NL" sz="900"/>
        </a:p>
      </dgm:t>
    </dgm:pt>
    <dgm:pt modelId="{6E2213D1-0573-4675-98DA-0076CF75465F}" type="parTrans" cxnId="{07B7B9FE-65A9-44AC-B2BC-1638D12F3448}">
      <dgm:prSet/>
      <dgm:spPr/>
      <dgm:t>
        <a:bodyPr/>
        <a:lstStyle/>
        <a:p>
          <a:endParaRPr lang="nl-NL" sz="1000"/>
        </a:p>
      </dgm:t>
    </dgm:pt>
    <dgm:pt modelId="{6558BD01-4C77-4722-AF95-E83635287790}" type="sibTrans" cxnId="{07B7B9FE-65A9-44AC-B2BC-1638D12F3448}">
      <dgm:prSet/>
      <dgm:spPr/>
      <dgm:t>
        <a:bodyPr/>
        <a:lstStyle/>
        <a:p>
          <a:endParaRPr lang="nl-NL" sz="1000"/>
        </a:p>
      </dgm:t>
    </dgm:pt>
    <dgm:pt modelId="{1DE78E1A-287A-4644-911E-2C3E7FDD395B}" type="pres">
      <dgm:prSet presAssocID="{A4C25754-AF2E-445A-B1C4-208C361E3027}" presName="Name0" presStyleCnt="0">
        <dgm:presLayoutVars>
          <dgm:chPref val="3"/>
          <dgm:dir/>
          <dgm:animLvl val="lvl"/>
          <dgm:resizeHandles/>
        </dgm:presLayoutVars>
      </dgm:prSet>
      <dgm:spPr/>
      <dgm:t>
        <a:bodyPr/>
        <a:lstStyle/>
        <a:p>
          <a:endParaRPr lang="nl-NL"/>
        </a:p>
      </dgm:t>
    </dgm:pt>
    <dgm:pt modelId="{1A84AAE2-0808-451B-B00F-51978064A56A}" type="pres">
      <dgm:prSet presAssocID="{647DD7A5-0012-436B-BAB9-BDE52DC25B90}" presName="horFlow" presStyleCnt="0"/>
      <dgm:spPr/>
    </dgm:pt>
    <dgm:pt modelId="{F6E04653-AC57-46CE-A503-3CBBAD1D7D39}" type="pres">
      <dgm:prSet presAssocID="{647DD7A5-0012-436B-BAB9-BDE52DC25B90}" presName="bigChev" presStyleLbl="node1" presStyleIdx="0" presStyleCnt="5" custScaleX="84206"/>
      <dgm:spPr/>
      <dgm:t>
        <a:bodyPr/>
        <a:lstStyle/>
        <a:p>
          <a:endParaRPr lang="nl-NL"/>
        </a:p>
      </dgm:t>
    </dgm:pt>
    <dgm:pt modelId="{2FD405EF-9A12-4113-837F-4235A9C8BCDF}" type="pres">
      <dgm:prSet presAssocID="{583416F9-FBC6-4C82-8614-951CEE12CD70}" presName="parTrans" presStyleCnt="0"/>
      <dgm:spPr/>
    </dgm:pt>
    <dgm:pt modelId="{9E6C8AC0-5D21-43F3-83C4-CC1B7203E690}" type="pres">
      <dgm:prSet presAssocID="{6D8F2393-DBD3-466D-BB9D-AE10062D1E45}" presName="node" presStyleLbl="alignAccFollowNode1" presStyleIdx="0" presStyleCnt="25" custScaleX="119879" custScaleY="120095">
        <dgm:presLayoutVars>
          <dgm:bulletEnabled val="1"/>
        </dgm:presLayoutVars>
      </dgm:prSet>
      <dgm:spPr/>
      <dgm:t>
        <a:bodyPr/>
        <a:lstStyle/>
        <a:p>
          <a:endParaRPr lang="nl-NL"/>
        </a:p>
      </dgm:t>
    </dgm:pt>
    <dgm:pt modelId="{12437B27-DC93-4BD7-BC2C-B48051EB2B27}" type="pres">
      <dgm:prSet presAssocID="{03DE5228-1E63-4C54-9AE4-3B883B2F1DBA}" presName="sibTrans" presStyleCnt="0"/>
      <dgm:spPr/>
    </dgm:pt>
    <dgm:pt modelId="{5F155100-7715-4A17-90EE-690DB2345E60}" type="pres">
      <dgm:prSet presAssocID="{545954EC-4953-467F-8E27-933BAB5A8E05}" presName="node" presStyleLbl="alignAccFollowNode1" presStyleIdx="1" presStyleCnt="25" custScaleX="119879" custScaleY="120096">
        <dgm:presLayoutVars>
          <dgm:bulletEnabled val="1"/>
        </dgm:presLayoutVars>
      </dgm:prSet>
      <dgm:spPr/>
      <dgm:t>
        <a:bodyPr/>
        <a:lstStyle/>
        <a:p>
          <a:endParaRPr lang="nl-NL"/>
        </a:p>
      </dgm:t>
    </dgm:pt>
    <dgm:pt modelId="{556E6604-75C8-47B9-8F4D-7B0C112FFCB2}" type="pres">
      <dgm:prSet presAssocID="{3195B29B-0B9A-47B3-B2F4-4FDC8876F8E7}" presName="sibTrans" presStyleCnt="0"/>
      <dgm:spPr/>
    </dgm:pt>
    <dgm:pt modelId="{7BCA09AF-73D2-4619-A7A7-F58A620080A0}" type="pres">
      <dgm:prSet presAssocID="{0EEE7DE5-2B00-458B-BCAB-CB504BAD12E7}" presName="node" presStyleLbl="alignAccFollowNode1" presStyleIdx="2" presStyleCnt="25" custScaleX="119879" custScaleY="120096">
        <dgm:presLayoutVars>
          <dgm:bulletEnabled val="1"/>
        </dgm:presLayoutVars>
      </dgm:prSet>
      <dgm:spPr/>
      <dgm:t>
        <a:bodyPr/>
        <a:lstStyle/>
        <a:p>
          <a:endParaRPr lang="nl-NL"/>
        </a:p>
      </dgm:t>
    </dgm:pt>
    <dgm:pt modelId="{6993564F-6DB6-4935-B3A0-CE9427733D38}" type="pres">
      <dgm:prSet presAssocID="{9F4A5B04-0051-4F5D-9849-79FF15B78EF0}" presName="sibTrans" presStyleCnt="0"/>
      <dgm:spPr/>
    </dgm:pt>
    <dgm:pt modelId="{6F58A52D-AFF9-49F5-8538-1AB9A54C1571}" type="pres">
      <dgm:prSet presAssocID="{1F00858C-756E-438F-ACFC-655C02058CEA}" presName="node" presStyleLbl="alignAccFollowNode1" presStyleIdx="3" presStyleCnt="25" custScaleX="119879" custScaleY="120096">
        <dgm:presLayoutVars>
          <dgm:bulletEnabled val="1"/>
        </dgm:presLayoutVars>
      </dgm:prSet>
      <dgm:spPr/>
      <dgm:t>
        <a:bodyPr/>
        <a:lstStyle/>
        <a:p>
          <a:endParaRPr lang="nl-NL"/>
        </a:p>
      </dgm:t>
    </dgm:pt>
    <dgm:pt modelId="{26A65A6A-FEA9-4FF4-AB74-E96C5C5FD924}" type="pres">
      <dgm:prSet presAssocID="{E87351C3-C3F4-4BF9-BC9D-FD82FB04DFC6}" presName="sibTrans" presStyleCnt="0"/>
      <dgm:spPr/>
    </dgm:pt>
    <dgm:pt modelId="{9DA68F1C-8A13-4764-9EED-8C5C1AC113E6}" type="pres">
      <dgm:prSet presAssocID="{2B87F55F-3DDA-4DB8-85DC-69C630658C4A}" presName="node" presStyleLbl="alignAccFollowNode1" presStyleIdx="4" presStyleCnt="25" custScaleX="119879" custScaleY="120096">
        <dgm:presLayoutVars>
          <dgm:bulletEnabled val="1"/>
        </dgm:presLayoutVars>
      </dgm:prSet>
      <dgm:spPr/>
      <dgm:t>
        <a:bodyPr/>
        <a:lstStyle/>
        <a:p>
          <a:endParaRPr lang="nl-NL"/>
        </a:p>
      </dgm:t>
    </dgm:pt>
    <dgm:pt modelId="{0D952C92-7C21-4671-AE94-64DCC08CB47C}" type="pres">
      <dgm:prSet presAssocID="{647DD7A5-0012-436B-BAB9-BDE52DC25B90}" presName="vSp" presStyleCnt="0"/>
      <dgm:spPr/>
    </dgm:pt>
    <dgm:pt modelId="{FED88096-892B-4EC2-9E54-1AC122C68345}" type="pres">
      <dgm:prSet presAssocID="{22C9BA16-C912-4AB8-B16E-FF797935FE95}" presName="horFlow" presStyleCnt="0"/>
      <dgm:spPr/>
    </dgm:pt>
    <dgm:pt modelId="{45A1425D-2946-43E1-B1EC-77043B192449}" type="pres">
      <dgm:prSet presAssocID="{22C9BA16-C912-4AB8-B16E-FF797935FE95}" presName="bigChev" presStyleLbl="node1" presStyleIdx="1" presStyleCnt="5" custScaleX="84206"/>
      <dgm:spPr/>
      <dgm:t>
        <a:bodyPr/>
        <a:lstStyle/>
        <a:p>
          <a:endParaRPr lang="nl-NL"/>
        </a:p>
      </dgm:t>
    </dgm:pt>
    <dgm:pt modelId="{6EDFC9BE-7488-47C8-9C6B-A9C6D1E82C02}" type="pres">
      <dgm:prSet presAssocID="{7C76C83D-CE5B-4D7C-AD83-B4E39CEEF00A}" presName="parTrans" presStyleCnt="0"/>
      <dgm:spPr/>
    </dgm:pt>
    <dgm:pt modelId="{050DB05E-783F-4CCF-9747-F95A7E32D478}" type="pres">
      <dgm:prSet presAssocID="{17FA8828-52A2-4AF5-B391-AB85135831D1}" presName="node" presStyleLbl="alignAccFollowNode1" presStyleIdx="5" presStyleCnt="25" custScaleX="119879" custScaleY="120095">
        <dgm:presLayoutVars>
          <dgm:bulletEnabled val="1"/>
        </dgm:presLayoutVars>
      </dgm:prSet>
      <dgm:spPr/>
      <dgm:t>
        <a:bodyPr/>
        <a:lstStyle/>
        <a:p>
          <a:endParaRPr lang="nl-NL"/>
        </a:p>
      </dgm:t>
    </dgm:pt>
    <dgm:pt modelId="{3F8234F6-BDB0-48B1-8C45-48C899BF167B}" type="pres">
      <dgm:prSet presAssocID="{5831FBD0-5DF6-4737-9D40-31BD670C5784}" presName="sibTrans" presStyleCnt="0"/>
      <dgm:spPr/>
    </dgm:pt>
    <dgm:pt modelId="{EE523708-1E1B-4AAA-A918-8F0DB46124F9}" type="pres">
      <dgm:prSet presAssocID="{1C057D00-7046-4C92-8845-E659397CD6FE}" presName="node" presStyleLbl="alignAccFollowNode1" presStyleIdx="6" presStyleCnt="25" custScaleX="119879" custScaleY="120096">
        <dgm:presLayoutVars>
          <dgm:bulletEnabled val="1"/>
        </dgm:presLayoutVars>
      </dgm:prSet>
      <dgm:spPr/>
      <dgm:t>
        <a:bodyPr/>
        <a:lstStyle/>
        <a:p>
          <a:endParaRPr lang="nl-NL"/>
        </a:p>
      </dgm:t>
    </dgm:pt>
    <dgm:pt modelId="{394A353D-2412-4CC3-8B67-F3A0F8C998EB}" type="pres">
      <dgm:prSet presAssocID="{9F92A93D-431C-4D58-AC15-E971BD7417E8}" presName="sibTrans" presStyleCnt="0"/>
      <dgm:spPr/>
    </dgm:pt>
    <dgm:pt modelId="{87B307EE-F7E3-478C-99DF-363D7920F82C}" type="pres">
      <dgm:prSet presAssocID="{151429BB-703C-4837-AEAE-FB6E3DE6D505}" presName="node" presStyleLbl="alignAccFollowNode1" presStyleIdx="7" presStyleCnt="25" custScaleX="119879" custScaleY="120096">
        <dgm:presLayoutVars>
          <dgm:bulletEnabled val="1"/>
        </dgm:presLayoutVars>
      </dgm:prSet>
      <dgm:spPr/>
      <dgm:t>
        <a:bodyPr/>
        <a:lstStyle/>
        <a:p>
          <a:endParaRPr lang="nl-NL"/>
        </a:p>
      </dgm:t>
    </dgm:pt>
    <dgm:pt modelId="{1F7177C5-C327-4167-AB92-530115D8A37A}" type="pres">
      <dgm:prSet presAssocID="{31B627E5-D5DC-4932-8CC6-E7930B6676D9}" presName="sibTrans" presStyleCnt="0"/>
      <dgm:spPr/>
    </dgm:pt>
    <dgm:pt modelId="{CED8139D-1618-489C-91A6-6B435D2A051E}" type="pres">
      <dgm:prSet presAssocID="{746BBA83-FC51-4B44-8C3D-F93ACED5A830}" presName="node" presStyleLbl="alignAccFollowNode1" presStyleIdx="8" presStyleCnt="25" custScaleX="119879" custScaleY="120096">
        <dgm:presLayoutVars>
          <dgm:bulletEnabled val="1"/>
        </dgm:presLayoutVars>
      </dgm:prSet>
      <dgm:spPr/>
      <dgm:t>
        <a:bodyPr/>
        <a:lstStyle/>
        <a:p>
          <a:endParaRPr lang="nl-NL"/>
        </a:p>
      </dgm:t>
    </dgm:pt>
    <dgm:pt modelId="{232C0BA6-DDAE-4F0C-A30C-002BE01369D9}" type="pres">
      <dgm:prSet presAssocID="{645A86AD-7CFE-406C-A490-80E89BBD3A4A}" presName="sibTrans" presStyleCnt="0"/>
      <dgm:spPr/>
    </dgm:pt>
    <dgm:pt modelId="{76A59E32-1369-43F3-BA20-12EAEE339E49}" type="pres">
      <dgm:prSet presAssocID="{20446483-3131-45C6-9B63-8672E75978B6}" presName="node" presStyleLbl="alignAccFollowNode1" presStyleIdx="9" presStyleCnt="25" custScaleX="119879" custScaleY="120096">
        <dgm:presLayoutVars>
          <dgm:bulletEnabled val="1"/>
        </dgm:presLayoutVars>
      </dgm:prSet>
      <dgm:spPr/>
      <dgm:t>
        <a:bodyPr/>
        <a:lstStyle/>
        <a:p>
          <a:endParaRPr lang="nl-NL"/>
        </a:p>
      </dgm:t>
    </dgm:pt>
    <dgm:pt modelId="{91A9BBBC-E226-44ED-B966-18A36F466E5B}" type="pres">
      <dgm:prSet presAssocID="{22C9BA16-C912-4AB8-B16E-FF797935FE95}" presName="vSp" presStyleCnt="0"/>
      <dgm:spPr/>
    </dgm:pt>
    <dgm:pt modelId="{DAD2B607-B187-469D-B28A-EE687D766071}" type="pres">
      <dgm:prSet presAssocID="{1D0431D3-64B3-4A2A-BC98-318609876B89}" presName="horFlow" presStyleCnt="0"/>
      <dgm:spPr/>
    </dgm:pt>
    <dgm:pt modelId="{AC514612-8832-4B0F-86D0-3200CCE54AE0}" type="pres">
      <dgm:prSet presAssocID="{1D0431D3-64B3-4A2A-BC98-318609876B89}" presName="bigChev" presStyleLbl="node1" presStyleIdx="2" presStyleCnt="5" custScaleX="84206"/>
      <dgm:spPr/>
      <dgm:t>
        <a:bodyPr/>
        <a:lstStyle/>
        <a:p>
          <a:endParaRPr lang="nl-NL"/>
        </a:p>
      </dgm:t>
    </dgm:pt>
    <dgm:pt modelId="{71A396D0-074E-437B-B2EF-A0B34E0BE7F7}" type="pres">
      <dgm:prSet presAssocID="{7BCAD824-9F6C-4E51-8307-99177976A87F}" presName="parTrans" presStyleCnt="0"/>
      <dgm:spPr/>
    </dgm:pt>
    <dgm:pt modelId="{F6BDEFCB-7EF5-4C67-9CC3-C8A5F8837BEC}" type="pres">
      <dgm:prSet presAssocID="{C0C666D5-C6AE-48A4-8BEB-1E0B4423CC7F}" presName="node" presStyleLbl="alignAccFollowNode1" presStyleIdx="10" presStyleCnt="25" custScaleX="119879" custScaleY="120095">
        <dgm:presLayoutVars>
          <dgm:bulletEnabled val="1"/>
        </dgm:presLayoutVars>
      </dgm:prSet>
      <dgm:spPr/>
      <dgm:t>
        <a:bodyPr/>
        <a:lstStyle/>
        <a:p>
          <a:endParaRPr lang="nl-NL"/>
        </a:p>
      </dgm:t>
    </dgm:pt>
    <dgm:pt modelId="{AB380205-9165-48BE-90AF-1D37155F4626}" type="pres">
      <dgm:prSet presAssocID="{DEFB9FE7-85F7-46CA-BCD3-991BFEB6948F}" presName="sibTrans" presStyleCnt="0"/>
      <dgm:spPr/>
    </dgm:pt>
    <dgm:pt modelId="{58186B43-07B2-485C-BAFC-A38A2D2CA252}" type="pres">
      <dgm:prSet presAssocID="{1DD1AC1D-B569-457A-ABD8-ECBDB05C5B6B}" presName="node" presStyleLbl="alignAccFollowNode1" presStyleIdx="11" presStyleCnt="25" custScaleX="119879" custScaleY="120096">
        <dgm:presLayoutVars>
          <dgm:bulletEnabled val="1"/>
        </dgm:presLayoutVars>
      </dgm:prSet>
      <dgm:spPr/>
      <dgm:t>
        <a:bodyPr/>
        <a:lstStyle/>
        <a:p>
          <a:endParaRPr lang="nl-NL"/>
        </a:p>
      </dgm:t>
    </dgm:pt>
    <dgm:pt modelId="{7D78B4A9-2CA2-46A7-9724-90A84F6E3D1B}" type="pres">
      <dgm:prSet presAssocID="{B22F1A8F-FD9D-4176-86A1-F295A23BFA9F}" presName="sibTrans" presStyleCnt="0"/>
      <dgm:spPr/>
    </dgm:pt>
    <dgm:pt modelId="{0147A711-EAE7-444C-88B2-0E0CB88E6274}" type="pres">
      <dgm:prSet presAssocID="{4E20D29C-B6C9-440B-AFF3-AEF13A3A4C36}" presName="node" presStyleLbl="alignAccFollowNode1" presStyleIdx="12" presStyleCnt="25" custScaleX="119879" custScaleY="120096">
        <dgm:presLayoutVars>
          <dgm:bulletEnabled val="1"/>
        </dgm:presLayoutVars>
      </dgm:prSet>
      <dgm:spPr/>
      <dgm:t>
        <a:bodyPr/>
        <a:lstStyle/>
        <a:p>
          <a:endParaRPr lang="nl-NL"/>
        </a:p>
      </dgm:t>
    </dgm:pt>
    <dgm:pt modelId="{83242370-A8A0-49D9-8F01-B0DBCCE9E329}" type="pres">
      <dgm:prSet presAssocID="{18736C93-2A1D-4F22-8952-5A44ED9B99A1}" presName="sibTrans" presStyleCnt="0"/>
      <dgm:spPr/>
    </dgm:pt>
    <dgm:pt modelId="{9FA528D7-26AC-4E04-B14F-E0155359DB2B}" type="pres">
      <dgm:prSet presAssocID="{AA8DBEC3-5730-473F-B244-820415D3B97D}" presName="node" presStyleLbl="alignAccFollowNode1" presStyleIdx="13" presStyleCnt="25" custScaleX="119879" custScaleY="120096">
        <dgm:presLayoutVars>
          <dgm:bulletEnabled val="1"/>
        </dgm:presLayoutVars>
      </dgm:prSet>
      <dgm:spPr/>
      <dgm:t>
        <a:bodyPr/>
        <a:lstStyle/>
        <a:p>
          <a:endParaRPr lang="nl-NL"/>
        </a:p>
      </dgm:t>
    </dgm:pt>
    <dgm:pt modelId="{830719E3-B039-41C3-82E1-9E3518710380}" type="pres">
      <dgm:prSet presAssocID="{016D74AE-0885-463A-8830-0E4EE253A780}" presName="sibTrans" presStyleCnt="0"/>
      <dgm:spPr/>
    </dgm:pt>
    <dgm:pt modelId="{6E216FF8-2780-4ABE-969B-CDD8F6583DDC}" type="pres">
      <dgm:prSet presAssocID="{6CE1A86C-5E74-4ADB-95CE-83D1024B8A1B}" presName="node" presStyleLbl="alignAccFollowNode1" presStyleIdx="14" presStyleCnt="25" custScaleX="119879" custScaleY="120096">
        <dgm:presLayoutVars>
          <dgm:bulletEnabled val="1"/>
        </dgm:presLayoutVars>
      </dgm:prSet>
      <dgm:spPr/>
      <dgm:t>
        <a:bodyPr/>
        <a:lstStyle/>
        <a:p>
          <a:endParaRPr lang="nl-NL"/>
        </a:p>
      </dgm:t>
    </dgm:pt>
    <dgm:pt modelId="{8666EA12-234D-4CB4-8E75-0C81F718C0A9}" type="pres">
      <dgm:prSet presAssocID="{1D0431D3-64B3-4A2A-BC98-318609876B89}" presName="vSp" presStyleCnt="0"/>
      <dgm:spPr/>
    </dgm:pt>
    <dgm:pt modelId="{0D0AE263-B1EA-44DD-9FE2-9CAC606D6FC5}" type="pres">
      <dgm:prSet presAssocID="{23193460-2B00-4BBA-B2EF-55CC2B44251D}" presName="horFlow" presStyleCnt="0"/>
      <dgm:spPr/>
    </dgm:pt>
    <dgm:pt modelId="{01295B02-5629-4790-BB4D-A7650C590746}" type="pres">
      <dgm:prSet presAssocID="{23193460-2B00-4BBA-B2EF-55CC2B44251D}" presName="bigChev" presStyleLbl="node1" presStyleIdx="3" presStyleCnt="5" custScaleX="84206"/>
      <dgm:spPr/>
      <dgm:t>
        <a:bodyPr/>
        <a:lstStyle/>
        <a:p>
          <a:endParaRPr lang="nl-NL"/>
        </a:p>
      </dgm:t>
    </dgm:pt>
    <dgm:pt modelId="{A75BC414-AEA6-434B-B674-287E649E0B5D}" type="pres">
      <dgm:prSet presAssocID="{142C46B5-687D-479B-9E79-40DA7F5DEF44}" presName="parTrans" presStyleCnt="0"/>
      <dgm:spPr/>
    </dgm:pt>
    <dgm:pt modelId="{6EF753EC-17CD-46A6-81D5-6C737C6C4D8F}" type="pres">
      <dgm:prSet presAssocID="{1CEA679C-96CA-460E-AC4E-1582F3BE9109}" presName="node" presStyleLbl="alignAccFollowNode1" presStyleIdx="15" presStyleCnt="25" custScaleX="119879" custScaleY="120095">
        <dgm:presLayoutVars>
          <dgm:bulletEnabled val="1"/>
        </dgm:presLayoutVars>
      </dgm:prSet>
      <dgm:spPr/>
      <dgm:t>
        <a:bodyPr/>
        <a:lstStyle/>
        <a:p>
          <a:endParaRPr lang="nl-NL"/>
        </a:p>
      </dgm:t>
    </dgm:pt>
    <dgm:pt modelId="{F90259C5-94CE-4646-9BBB-9D77BAFCC246}" type="pres">
      <dgm:prSet presAssocID="{6F495585-C16D-46B3-BD6D-CD5560F9DB86}" presName="sibTrans" presStyleCnt="0"/>
      <dgm:spPr/>
    </dgm:pt>
    <dgm:pt modelId="{63D44174-705A-471D-8957-98F128C02313}" type="pres">
      <dgm:prSet presAssocID="{9A17E9D9-E8F2-4A3D-B3C2-0BF77FF6D42E}" presName="node" presStyleLbl="alignAccFollowNode1" presStyleIdx="16" presStyleCnt="25" custScaleX="119879" custScaleY="120096">
        <dgm:presLayoutVars>
          <dgm:bulletEnabled val="1"/>
        </dgm:presLayoutVars>
      </dgm:prSet>
      <dgm:spPr/>
      <dgm:t>
        <a:bodyPr/>
        <a:lstStyle/>
        <a:p>
          <a:endParaRPr lang="nl-NL"/>
        </a:p>
      </dgm:t>
    </dgm:pt>
    <dgm:pt modelId="{F97E5AF9-947E-4CC6-9073-F777788D2625}" type="pres">
      <dgm:prSet presAssocID="{E69B4927-D436-46DC-B02B-BBE2B2FB337F}" presName="sibTrans" presStyleCnt="0"/>
      <dgm:spPr/>
    </dgm:pt>
    <dgm:pt modelId="{A7989C51-1EF4-4500-81D6-6D719DDD68D0}" type="pres">
      <dgm:prSet presAssocID="{7EDDC5A2-9A6F-4101-B5CB-77EDED0EB09F}" presName="node" presStyleLbl="alignAccFollowNode1" presStyleIdx="17" presStyleCnt="25" custScaleX="119879" custScaleY="120096">
        <dgm:presLayoutVars>
          <dgm:bulletEnabled val="1"/>
        </dgm:presLayoutVars>
      </dgm:prSet>
      <dgm:spPr/>
      <dgm:t>
        <a:bodyPr/>
        <a:lstStyle/>
        <a:p>
          <a:endParaRPr lang="nl-NL"/>
        </a:p>
      </dgm:t>
    </dgm:pt>
    <dgm:pt modelId="{49AEC048-1AAE-4592-9445-E9DFA3B4AE30}" type="pres">
      <dgm:prSet presAssocID="{6F48EEA3-B2B6-4574-A8AF-5F75DE2E1693}" presName="sibTrans" presStyleCnt="0"/>
      <dgm:spPr/>
    </dgm:pt>
    <dgm:pt modelId="{A13861A0-3C4D-407A-AD33-595EDBF2F097}" type="pres">
      <dgm:prSet presAssocID="{66E39E7D-DC2E-4284-993D-AFD4E5E98986}" presName="node" presStyleLbl="alignAccFollowNode1" presStyleIdx="18" presStyleCnt="25" custScaleX="119879" custScaleY="120096">
        <dgm:presLayoutVars>
          <dgm:bulletEnabled val="1"/>
        </dgm:presLayoutVars>
      </dgm:prSet>
      <dgm:spPr/>
      <dgm:t>
        <a:bodyPr/>
        <a:lstStyle/>
        <a:p>
          <a:endParaRPr lang="nl-NL"/>
        </a:p>
      </dgm:t>
    </dgm:pt>
    <dgm:pt modelId="{4A81BF62-7FD5-4E20-9909-F9C72ED58289}" type="pres">
      <dgm:prSet presAssocID="{57835AF8-C1FC-4BCA-8913-7836892EA37D}" presName="sibTrans" presStyleCnt="0"/>
      <dgm:spPr/>
    </dgm:pt>
    <dgm:pt modelId="{0EE2C3EC-54D5-48DD-BB5E-1E84B5C6767E}" type="pres">
      <dgm:prSet presAssocID="{82B4419E-EA02-41F8-8851-D338BCF00BF0}" presName="node" presStyleLbl="alignAccFollowNode1" presStyleIdx="19" presStyleCnt="25" custScaleX="119879" custScaleY="120096">
        <dgm:presLayoutVars>
          <dgm:bulletEnabled val="1"/>
        </dgm:presLayoutVars>
      </dgm:prSet>
      <dgm:spPr/>
      <dgm:t>
        <a:bodyPr/>
        <a:lstStyle/>
        <a:p>
          <a:endParaRPr lang="nl-NL"/>
        </a:p>
      </dgm:t>
    </dgm:pt>
    <dgm:pt modelId="{DCF6DC2F-5145-4A69-9352-14B4B105CEA7}" type="pres">
      <dgm:prSet presAssocID="{23193460-2B00-4BBA-B2EF-55CC2B44251D}" presName="vSp" presStyleCnt="0"/>
      <dgm:spPr/>
    </dgm:pt>
    <dgm:pt modelId="{B96505B2-8244-4CEC-B020-828904E4E906}" type="pres">
      <dgm:prSet presAssocID="{77057A3B-3645-4900-95DC-090CD2DB9683}" presName="horFlow" presStyleCnt="0"/>
      <dgm:spPr/>
    </dgm:pt>
    <dgm:pt modelId="{369C16FF-CB50-4D98-9172-0EA7B2F7C0E9}" type="pres">
      <dgm:prSet presAssocID="{77057A3B-3645-4900-95DC-090CD2DB9683}" presName="bigChev" presStyleLbl="node1" presStyleIdx="4" presStyleCnt="5" custScaleX="84206"/>
      <dgm:spPr/>
      <dgm:t>
        <a:bodyPr/>
        <a:lstStyle/>
        <a:p>
          <a:endParaRPr lang="nl-NL"/>
        </a:p>
      </dgm:t>
    </dgm:pt>
    <dgm:pt modelId="{C7EE0844-4E45-4E96-9DFA-0A8C0F2C9AA6}" type="pres">
      <dgm:prSet presAssocID="{3740C790-FB91-4EEF-9193-83BDD7896895}" presName="parTrans" presStyleCnt="0"/>
      <dgm:spPr/>
    </dgm:pt>
    <dgm:pt modelId="{F9B40E24-8054-4554-8AF6-D6B681E13EA0}" type="pres">
      <dgm:prSet presAssocID="{27A89387-7B3B-4188-A28B-6E38537CFD19}" presName="node" presStyleLbl="alignAccFollowNode1" presStyleIdx="20" presStyleCnt="25" custScaleX="119879" custScaleY="120095">
        <dgm:presLayoutVars>
          <dgm:bulletEnabled val="1"/>
        </dgm:presLayoutVars>
      </dgm:prSet>
      <dgm:spPr/>
      <dgm:t>
        <a:bodyPr/>
        <a:lstStyle/>
        <a:p>
          <a:endParaRPr lang="nl-NL"/>
        </a:p>
      </dgm:t>
    </dgm:pt>
    <dgm:pt modelId="{C5B67E5E-B363-42E2-80C1-79C2B5650A3A}" type="pres">
      <dgm:prSet presAssocID="{FCD6D5E8-E559-4B35-8AD2-0764F3E4CB3B}" presName="sibTrans" presStyleCnt="0"/>
      <dgm:spPr/>
    </dgm:pt>
    <dgm:pt modelId="{F7823181-D95C-4548-8D31-3B61A998A8F3}" type="pres">
      <dgm:prSet presAssocID="{6292E6EC-41DE-43DC-8EBD-D60A29E30E3A}" presName="node" presStyleLbl="alignAccFollowNode1" presStyleIdx="21" presStyleCnt="25" custScaleX="119879" custScaleY="120096">
        <dgm:presLayoutVars>
          <dgm:bulletEnabled val="1"/>
        </dgm:presLayoutVars>
      </dgm:prSet>
      <dgm:spPr/>
      <dgm:t>
        <a:bodyPr/>
        <a:lstStyle/>
        <a:p>
          <a:endParaRPr lang="nl-NL"/>
        </a:p>
      </dgm:t>
    </dgm:pt>
    <dgm:pt modelId="{AC437654-8085-4057-89E9-126A4BC75DAF}" type="pres">
      <dgm:prSet presAssocID="{4E923F6B-0FC9-4D73-B3A0-BF03729328D8}" presName="sibTrans" presStyleCnt="0"/>
      <dgm:spPr/>
    </dgm:pt>
    <dgm:pt modelId="{54E5B12B-5A5F-4DFD-A255-6C8C32526395}" type="pres">
      <dgm:prSet presAssocID="{C869D024-6F94-4126-B283-6DC434C89154}" presName="node" presStyleLbl="alignAccFollowNode1" presStyleIdx="22" presStyleCnt="25" custScaleX="119879" custScaleY="120096">
        <dgm:presLayoutVars>
          <dgm:bulletEnabled val="1"/>
        </dgm:presLayoutVars>
      </dgm:prSet>
      <dgm:spPr/>
      <dgm:t>
        <a:bodyPr/>
        <a:lstStyle/>
        <a:p>
          <a:endParaRPr lang="nl-NL"/>
        </a:p>
      </dgm:t>
    </dgm:pt>
    <dgm:pt modelId="{DE0F41F1-1B55-44E1-9D5A-189E52E87322}" type="pres">
      <dgm:prSet presAssocID="{16ACF173-BA7E-4685-843F-5588E59D116A}" presName="sibTrans" presStyleCnt="0"/>
      <dgm:spPr/>
    </dgm:pt>
    <dgm:pt modelId="{9D541BD9-D6A2-43C7-B91C-2D697E81376F}" type="pres">
      <dgm:prSet presAssocID="{62D61A53-2D9E-484A-A2DF-FA5F8026FDCE}" presName="node" presStyleLbl="alignAccFollowNode1" presStyleIdx="23" presStyleCnt="25" custScaleX="119879" custScaleY="120096">
        <dgm:presLayoutVars>
          <dgm:bulletEnabled val="1"/>
        </dgm:presLayoutVars>
      </dgm:prSet>
      <dgm:spPr/>
      <dgm:t>
        <a:bodyPr/>
        <a:lstStyle/>
        <a:p>
          <a:endParaRPr lang="nl-NL"/>
        </a:p>
      </dgm:t>
    </dgm:pt>
    <dgm:pt modelId="{603039C6-CA7A-4BF0-B9C3-E55981299194}" type="pres">
      <dgm:prSet presAssocID="{0741CA5F-C53B-4587-A516-C633F65D31E4}" presName="sibTrans" presStyleCnt="0"/>
      <dgm:spPr/>
    </dgm:pt>
    <dgm:pt modelId="{267F98CF-3B0B-4374-BA95-4747FC32EBB6}" type="pres">
      <dgm:prSet presAssocID="{8835A891-43B3-4F45-A35D-0FEC54C4FA75}" presName="node" presStyleLbl="alignAccFollowNode1" presStyleIdx="24" presStyleCnt="25" custScaleX="119879" custScaleY="120096">
        <dgm:presLayoutVars>
          <dgm:bulletEnabled val="1"/>
        </dgm:presLayoutVars>
      </dgm:prSet>
      <dgm:spPr/>
      <dgm:t>
        <a:bodyPr/>
        <a:lstStyle/>
        <a:p>
          <a:endParaRPr lang="nl-NL"/>
        </a:p>
      </dgm:t>
    </dgm:pt>
  </dgm:ptLst>
  <dgm:cxnLst>
    <dgm:cxn modelId="{5C8C9688-845D-407B-8262-856083BB8B02}" srcId="{22C9BA16-C912-4AB8-B16E-FF797935FE95}" destId="{746BBA83-FC51-4B44-8C3D-F93ACED5A830}" srcOrd="3" destOrd="0" parTransId="{43D31E03-9F7F-4CDB-BA1E-5B60E76E75A0}" sibTransId="{645A86AD-7CFE-406C-A490-80E89BBD3A4A}"/>
    <dgm:cxn modelId="{7CE56B18-CF79-43BF-AA17-4A5CA53C6967}" srcId="{77057A3B-3645-4900-95DC-090CD2DB9683}" destId="{C869D024-6F94-4126-B283-6DC434C89154}" srcOrd="2" destOrd="0" parTransId="{065D051E-7E8B-4B3A-8F40-D8B67EEB97E8}" sibTransId="{16ACF173-BA7E-4685-843F-5588E59D116A}"/>
    <dgm:cxn modelId="{1E19AF31-A63C-4F46-B482-F715C1BB40D5}" srcId="{23193460-2B00-4BBA-B2EF-55CC2B44251D}" destId="{82B4419E-EA02-41F8-8851-D338BCF00BF0}" srcOrd="4" destOrd="0" parTransId="{7A7B7C56-B4C7-4671-B013-0CA3A660B3FD}" sibTransId="{90965BCE-1684-471D-AE9E-22ADC4D55E40}"/>
    <dgm:cxn modelId="{C244C082-4F01-4C68-ACB6-0E8FA3198B3E}" srcId="{A4C25754-AF2E-445A-B1C4-208C361E3027}" destId="{22C9BA16-C912-4AB8-B16E-FF797935FE95}" srcOrd="1" destOrd="0" parTransId="{93B98DF1-7871-4E1C-BCA9-B7D1E46536EC}" sibTransId="{92090AD9-6C79-48EC-9401-F0B181673841}"/>
    <dgm:cxn modelId="{BC9DE52F-0BB5-4ACB-9274-779AEBE21803}" srcId="{22C9BA16-C912-4AB8-B16E-FF797935FE95}" destId="{1C057D00-7046-4C92-8845-E659397CD6FE}" srcOrd="1" destOrd="0" parTransId="{5CCF2DFA-AA14-4223-93C4-29A2BEE342FE}" sibTransId="{9F92A93D-431C-4D58-AC15-E971BD7417E8}"/>
    <dgm:cxn modelId="{3BB2DC6F-AEAE-401D-A71C-27E6D32EC4FB}" srcId="{1D0431D3-64B3-4A2A-BC98-318609876B89}" destId="{C0C666D5-C6AE-48A4-8BEB-1E0B4423CC7F}" srcOrd="0" destOrd="0" parTransId="{7BCAD824-9F6C-4E51-8307-99177976A87F}" sibTransId="{DEFB9FE7-85F7-46CA-BCD3-991BFEB6948F}"/>
    <dgm:cxn modelId="{5B51B856-66F6-41DE-82D6-D9DAD4791020}" type="presOf" srcId="{66E39E7D-DC2E-4284-993D-AFD4E5E98986}" destId="{A13861A0-3C4D-407A-AD33-595EDBF2F097}" srcOrd="0" destOrd="0" presId="urn:microsoft.com/office/officeart/2005/8/layout/lProcess3"/>
    <dgm:cxn modelId="{9B937BAE-08F9-42AE-AC98-6AD3DC9FA8CB}" srcId="{A4C25754-AF2E-445A-B1C4-208C361E3027}" destId="{23193460-2B00-4BBA-B2EF-55CC2B44251D}" srcOrd="3" destOrd="0" parTransId="{9039EAD3-CDDB-4CC8-A3AF-7A425DFF7FAF}" sibTransId="{B40E2452-A66F-4500-9BFD-26EFE8F1C46C}"/>
    <dgm:cxn modelId="{C94B2CA1-3476-4E29-8D69-CB27642C1C34}" type="presOf" srcId="{23193460-2B00-4BBA-B2EF-55CC2B44251D}" destId="{01295B02-5629-4790-BB4D-A7650C590746}" srcOrd="0" destOrd="0" presId="urn:microsoft.com/office/officeart/2005/8/layout/lProcess3"/>
    <dgm:cxn modelId="{C12D5F15-CE74-4E56-ADAA-04E1C0542A81}" type="presOf" srcId="{1F00858C-756E-438F-ACFC-655C02058CEA}" destId="{6F58A52D-AFF9-49F5-8538-1AB9A54C1571}" srcOrd="0" destOrd="0" presId="urn:microsoft.com/office/officeart/2005/8/layout/lProcess3"/>
    <dgm:cxn modelId="{404349EA-FCFB-4F3A-A6D3-4DA211175043}" type="presOf" srcId="{4E20D29C-B6C9-440B-AFF3-AEF13A3A4C36}" destId="{0147A711-EAE7-444C-88B2-0E0CB88E6274}" srcOrd="0" destOrd="0" presId="urn:microsoft.com/office/officeart/2005/8/layout/lProcess3"/>
    <dgm:cxn modelId="{24EA6616-E004-4366-BB51-E4E8F832CBD5}" type="presOf" srcId="{27A89387-7B3B-4188-A28B-6E38537CFD19}" destId="{F9B40E24-8054-4554-8AF6-D6B681E13EA0}" srcOrd="0" destOrd="0" presId="urn:microsoft.com/office/officeart/2005/8/layout/lProcess3"/>
    <dgm:cxn modelId="{79901D87-BDE8-49B6-93DD-626CC97FAEC0}" type="presOf" srcId="{62D61A53-2D9E-484A-A2DF-FA5F8026FDCE}" destId="{9D541BD9-D6A2-43C7-B91C-2D697E81376F}" srcOrd="0" destOrd="0" presId="urn:microsoft.com/office/officeart/2005/8/layout/lProcess3"/>
    <dgm:cxn modelId="{1116DFBC-7D5F-4A2B-BE9E-6A035578413B}" type="presOf" srcId="{151429BB-703C-4837-AEAE-FB6E3DE6D505}" destId="{87B307EE-F7E3-478C-99DF-363D7920F82C}" srcOrd="0" destOrd="0" presId="urn:microsoft.com/office/officeart/2005/8/layout/lProcess3"/>
    <dgm:cxn modelId="{8F30F11D-E87C-429F-A3B7-14360FA410AD}" srcId="{22C9BA16-C912-4AB8-B16E-FF797935FE95}" destId="{151429BB-703C-4837-AEAE-FB6E3DE6D505}" srcOrd="2" destOrd="0" parTransId="{CE2A0741-45C2-4BEA-BD64-023BC7622332}" sibTransId="{31B627E5-D5DC-4932-8CC6-E7930B6676D9}"/>
    <dgm:cxn modelId="{F01DEC03-BFD0-4AD0-83CB-AFBAB645346A}" type="presOf" srcId="{6292E6EC-41DE-43DC-8EBD-D60A29E30E3A}" destId="{F7823181-D95C-4548-8D31-3B61A998A8F3}" srcOrd="0" destOrd="0" presId="urn:microsoft.com/office/officeart/2005/8/layout/lProcess3"/>
    <dgm:cxn modelId="{A19ED3F0-D3F5-4544-A864-F0CB4CCF69B9}" srcId="{1D0431D3-64B3-4A2A-BC98-318609876B89}" destId="{AA8DBEC3-5730-473F-B244-820415D3B97D}" srcOrd="3" destOrd="0" parTransId="{FF21C5BA-C31C-4EE9-8435-9F3E74196BB2}" sibTransId="{016D74AE-0885-463A-8830-0E4EE253A780}"/>
    <dgm:cxn modelId="{7B088858-B74C-43E2-9BE5-068D5D9E1AEB}" srcId="{23193460-2B00-4BBA-B2EF-55CC2B44251D}" destId="{66E39E7D-DC2E-4284-993D-AFD4E5E98986}" srcOrd="3" destOrd="0" parTransId="{D2917CAC-F82A-46EF-A20B-2F4A2F94E9FF}" sibTransId="{57835AF8-C1FC-4BCA-8913-7836892EA37D}"/>
    <dgm:cxn modelId="{20329975-211D-4A3A-8C0F-DD54C84AD3BD}" srcId="{1D0431D3-64B3-4A2A-BC98-318609876B89}" destId="{4E20D29C-B6C9-440B-AFF3-AEF13A3A4C36}" srcOrd="2" destOrd="0" parTransId="{0AC3526D-14AD-4864-BC54-CA2EC525943F}" sibTransId="{18736C93-2A1D-4F22-8952-5A44ED9B99A1}"/>
    <dgm:cxn modelId="{03C42A38-BDB9-4D6B-A478-6FFCEEADCCBC}" srcId="{1D0431D3-64B3-4A2A-BC98-318609876B89}" destId="{1DD1AC1D-B569-457A-ABD8-ECBDB05C5B6B}" srcOrd="1" destOrd="0" parTransId="{E1011E1B-B118-4875-B78A-2BFFE230438F}" sibTransId="{B22F1A8F-FD9D-4176-86A1-F295A23BFA9F}"/>
    <dgm:cxn modelId="{5361ADCC-84BD-4993-85CF-74B06F5D06D1}" type="presOf" srcId="{22C9BA16-C912-4AB8-B16E-FF797935FE95}" destId="{45A1425D-2946-43E1-B1EC-77043B192449}" srcOrd="0" destOrd="0" presId="urn:microsoft.com/office/officeart/2005/8/layout/lProcess3"/>
    <dgm:cxn modelId="{07F00F9A-25EB-48AC-9AB9-F7A1B8DE7412}" type="presOf" srcId="{746BBA83-FC51-4B44-8C3D-F93ACED5A830}" destId="{CED8139D-1618-489C-91A6-6B435D2A051E}" srcOrd="0" destOrd="0" presId="urn:microsoft.com/office/officeart/2005/8/layout/lProcess3"/>
    <dgm:cxn modelId="{3404E993-9AF5-4AC8-A850-E56B79A05D44}" type="presOf" srcId="{1CEA679C-96CA-460E-AC4E-1582F3BE9109}" destId="{6EF753EC-17CD-46A6-81D5-6C737C6C4D8F}" srcOrd="0" destOrd="0" presId="urn:microsoft.com/office/officeart/2005/8/layout/lProcess3"/>
    <dgm:cxn modelId="{988CBE00-9744-4A6E-8BD8-86272E3F764E}" type="presOf" srcId="{1D0431D3-64B3-4A2A-BC98-318609876B89}" destId="{AC514612-8832-4B0F-86D0-3200CCE54AE0}" srcOrd="0" destOrd="0" presId="urn:microsoft.com/office/officeart/2005/8/layout/lProcess3"/>
    <dgm:cxn modelId="{41A7473E-0FAD-4341-A72C-25CA87F1ADE8}" srcId="{647DD7A5-0012-436B-BAB9-BDE52DC25B90}" destId="{0EEE7DE5-2B00-458B-BCAB-CB504BAD12E7}" srcOrd="2" destOrd="0" parTransId="{BE541403-E310-4737-9C4F-EFF537A3BC21}" sibTransId="{9F4A5B04-0051-4F5D-9849-79FF15B78EF0}"/>
    <dgm:cxn modelId="{33F43A8A-3CC8-4334-8714-CB475542533B}" type="presOf" srcId="{6CE1A86C-5E74-4ADB-95CE-83D1024B8A1B}" destId="{6E216FF8-2780-4ABE-969B-CDD8F6583DDC}" srcOrd="0" destOrd="0" presId="urn:microsoft.com/office/officeart/2005/8/layout/lProcess3"/>
    <dgm:cxn modelId="{F875A6EA-D09C-4FBB-A92C-73C0BA23DBA0}" type="presOf" srcId="{20446483-3131-45C6-9B63-8672E75978B6}" destId="{76A59E32-1369-43F3-BA20-12EAEE339E49}" srcOrd="0" destOrd="0" presId="urn:microsoft.com/office/officeart/2005/8/layout/lProcess3"/>
    <dgm:cxn modelId="{7BFCD170-6D7A-4815-B43E-FC0D2CF65DDA}" srcId="{23193460-2B00-4BBA-B2EF-55CC2B44251D}" destId="{9A17E9D9-E8F2-4A3D-B3C2-0BF77FF6D42E}" srcOrd="1" destOrd="0" parTransId="{1E3B8620-2598-4AD1-B142-4BF992FCC7D5}" sibTransId="{E69B4927-D436-46DC-B02B-BBE2B2FB337F}"/>
    <dgm:cxn modelId="{FD555119-81B7-423C-9055-58EC56CBFE23}" type="presOf" srcId="{9A17E9D9-E8F2-4A3D-B3C2-0BF77FF6D42E}" destId="{63D44174-705A-471D-8957-98F128C02313}" srcOrd="0" destOrd="0" presId="urn:microsoft.com/office/officeart/2005/8/layout/lProcess3"/>
    <dgm:cxn modelId="{07B7B9FE-65A9-44AC-B2BC-1638D12F3448}" srcId="{77057A3B-3645-4900-95DC-090CD2DB9683}" destId="{8835A891-43B3-4F45-A35D-0FEC54C4FA75}" srcOrd="4" destOrd="0" parTransId="{6E2213D1-0573-4675-98DA-0076CF75465F}" sibTransId="{6558BD01-4C77-4722-AF95-E83635287790}"/>
    <dgm:cxn modelId="{2A2E27CB-E7B7-4EBC-BE45-1A0413F68694}" type="presOf" srcId="{0EEE7DE5-2B00-458B-BCAB-CB504BAD12E7}" destId="{7BCA09AF-73D2-4619-A7A7-F58A620080A0}" srcOrd="0" destOrd="0" presId="urn:microsoft.com/office/officeart/2005/8/layout/lProcess3"/>
    <dgm:cxn modelId="{FF888F5F-DB76-4362-9E36-8483708879BB}" srcId="{23193460-2B00-4BBA-B2EF-55CC2B44251D}" destId="{1CEA679C-96CA-460E-AC4E-1582F3BE9109}" srcOrd="0" destOrd="0" parTransId="{142C46B5-687D-479B-9E79-40DA7F5DEF44}" sibTransId="{6F495585-C16D-46B3-BD6D-CD5560F9DB86}"/>
    <dgm:cxn modelId="{514C613D-60A0-4643-BBC0-BE8471FD5547}" type="presOf" srcId="{A4C25754-AF2E-445A-B1C4-208C361E3027}" destId="{1DE78E1A-287A-4644-911E-2C3E7FDD395B}" srcOrd="0" destOrd="0" presId="urn:microsoft.com/office/officeart/2005/8/layout/lProcess3"/>
    <dgm:cxn modelId="{51AB0B94-82E4-43E9-8949-985CC568556A}" type="presOf" srcId="{C0C666D5-C6AE-48A4-8BEB-1E0B4423CC7F}" destId="{F6BDEFCB-7EF5-4C67-9CC3-C8A5F8837BEC}" srcOrd="0" destOrd="0" presId="urn:microsoft.com/office/officeart/2005/8/layout/lProcess3"/>
    <dgm:cxn modelId="{3F8CF7C8-6210-42A5-8DA3-FA0302C8434A}" srcId="{A4C25754-AF2E-445A-B1C4-208C361E3027}" destId="{647DD7A5-0012-436B-BAB9-BDE52DC25B90}" srcOrd="0" destOrd="0" parTransId="{3AB16B59-D0CB-483E-BCBC-D5B2E737CB7D}" sibTransId="{706A9391-DCC8-4EEB-A18D-BE55B315846C}"/>
    <dgm:cxn modelId="{80260B3B-B79C-46B4-97AA-A804C2A3920E}" srcId="{647DD7A5-0012-436B-BAB9-BDE52DC25B90}" destId="{545954EC-4953-467F-8E27-933BAB5A8E05}" srcOrd="1" destOrd="0" parTransId="{E031E22B-55B8-4FED-A7B2-47054E3D78C2}" sibTransId="{3195B29B-0B9A-47B3-B2F4-4FDC8876F8E7}"/>
    <dgm:cxn modelId="{96666247-BF4C-4E6F-B6E5-3928BD906983}" type="presOf" srcId="{77057A3B-3645-4900-95DC-090CD2DB9683}" destId="{369C16FF-CB50-4D98-9172-0EA7B2F7C0E9}" srcOrd="0" destOrd="0" presId="urn:microsoft.com/office/officeart/2005/8/layout/lProcess3"/>
    <dgm:cxn modelId="{1F843F8A-097C-4D1E-8BE9-55D51C74877D}" srcId="{A4C25754-AF2E-445A-B1C4-208C361E3027}" destId="{77057A3B-3645-4900-95DC-090CD2DB9683}" srcOrd="4" destOrd="0" parTransId="{0EC6A81B-C8FD-4EEF-8570-8C98DBB1A73C}" sibTransId="{7A3E30EB-3E1C-4BF9-8CCF-CAA3571ACFB7}"/>
    <dgm:cxn modelId="{20E0196F-EDD9-474A-9FAF-DF8543639C6C}" srcId="{1D0431D3-64B3-4A2A-BC98-318609876B89}" destId="{6CE1A86C-5E74-4ADB-95CE-83D1024B8A1B}" srcOrd="4" destOrd="0" parTransId="{E68E1A5A-6E88-458A-8CB9-F2B234C35568}" sibTransId="{CCAC4F14-E3B3-4CA3-9BF7-C73D5E00EE32}"/>
    <dgm:cxn modelId="{D65ABC08-8E9F-48FB-9C91-F5256B3DDC67}" srcId="{647DD7A5-0012-436B-BAB9-BDE52DC25B90}" destId="{6D8F2393-DBD3-466D-BB9D-AE10062D1E45}" srcOrd="0" destOrd="0" parTransId="{583416F9-FBC6-4C82-8614-951CEE12CD70}" sibTransId="{03DE5228-1E63-4C54-9AE4-3B883B2F1DBA}"/>
    <dgm:cxn modelId="{ED905CA8-78C4-4B26-B4F3-FBE3111ED1C6}" srcId="{22C9BA16-C912-4AB8-B16E-FF797935FE95}" destId="{17FA8828-52A2-4AF5-B391-AB85135831D1}" srcOrd="0" destOrd="0" parTransId="{7C76C83D-CE5B-4D7C-AD83-B4E39CEEF00A}" sibTransId="{5831FBD0-5DF6-4737-9D40-31BD670C5784}"/>
    <dgm:cxn modelId="{20AAE980-8092-4326-A197-C1C565AB19AA}" type="presOf" srcId="{17FA8828-52A2-4AF5-B391-AB85135831D1}" destId="{050DB05E-783F-4CCF-9747-F95A7E32D478}" srcOrd="0" destOrd="0" presId="urn:microsoft.com/office/officeart/2005/8/layout/lProcess3"/>
    <dgm:cxn modelId="{EC06577F-9572-4923-825E-652125A51976}" type="presOf" srcId="{1DD1AC1D-B569-457A-ABD8-ECBDB05C5B6B}" destId="{58186B43-07B2-485C-BAFC-A38A2D2CA252}" srcOrd="0" destOrd="0" presId="urn:microsoft.com/office/officeart/2005/8/layout/lProcess3"/>
    <dgm:cxn modelId="{CA0D4426-5DC5-4E15-8CD4-69B9B9213E44}" srcId="{A4C25754-AF2E-445A-B1C4-208C361E3027}" destId="{1D0431D3-64B3-4A2A-BC98-318609876B89}" srcOrd="2" destOrd="0" parTransId="{8F056A3C-46EE-4105-96AC-805B07284C64}" sibTransId="{8B27C768-6F47-4415-9EAC-93F37110362D}"/>
    <dgm:cxn modelId="{51E55581-CECD-4AF7-BC46-2293C2202678}" type="presOf" srcId="{AA8DBEC3-5730-473F-B244-820415D3B97D}" destId="{9FA528D7-26AC-4E04-B14F-E0155359DB2B}" srcOrd="0" destOrd="0" presId="urn:microsoft.com/office/officeart/2005/8/layout/lProcess3"/>
    <dgm:cxn modelId="{671CB356-F728-45FA-9613-8893B0EB7710}" type="presOf" srcId="{1C057D00-7046-4C92-8845-E659397CD6FE}" destId="{EE523708-1E1B-4AAA-A918-8F0DB46124F9}" srcOrd="0" destOrd="0" presId="urn:microsoft.com/office/officeart/2005/8/layout/lProcess3"/>
    <dgm:cxn modelId="{2E6CD061-5211-49EC-9292-53AC3A9AD1E4}" srcId="{647DD7A5-0012-436B-BAB9-BDE52DC25B90}" destId="{2B87F55F-3DDA-4DB8-85DC-69C630658C4A}" srcOrd="4" destOrd="0" parTransId="{E458CF27-D025-4F7B-B018-63E3837B169F}" sibTransId="{DE6A453F-2629-4B65-903F-D41D3D5F3A92}"/>
    <dgm:cxn modelId="{6AC51181-18CA-4071-8671-E723CB2F83E3}" srcId="{22C9BA16-C912-4AB8-B16E-FF797935FE95}" destId="{20446483-3131-45C6-9B63-8672E75978B6}" srcOrd="4" destOrd="0" parTransId="{C592FC82-2CCB-41D1-AB19-C1027B3220DC}" sibTransId="{744972D6-F7F9-4325-9F4B-A70060987F27}"/>
    <dgm:cxn modelId="{40D9CC99-76AD-4E8E-A1AC-7A60971EB6FF}" srcId="{77057A3B-3645-4900-95DC-090CD2DB9683}" destId="{62D61A53-2D9E-484A-A2DF-FA5F8026FDCE}" srcOrd="3" destOrd="0" parTransId="{378F7EAA-89FC-40D8-A78F-65E528C91DC0}" sibTransId="{0741CA5F-C53B-4587-A516-C633F65D31E4}"/>
    <dgm:cxn modelId="{9AEC6FC0-CD11-49B0-9940-4D10A3FE7DFB}" type="presOf" srcId="{7EDDC5A2-9A6F-4101-B5CB-77EDED0EB09F}" destId="{A7989C51-1EF4-4500-81D6-6D719DDD68D0}" srcOrd="0" destOrd="0" presId="urn:microsoft.com/office/officeart/2005/8/layout/lProcess3"/>
    <dgm:cxn modelId="{B35D16C5-CE97-4817-8DCB-A32915EBD9A3}" srcId="{77057A3B-3645-4900-95DC-090CD2DB9683}" destId="{6292E6EC-41DE-43DC-8EBD-D60A29E30E3A}" srcOrd="1" destOrd="0" parTransId="{0E4480AF-2094-4189-98C1-03DE33A39523}" sibTransId="{4E923F6B-0FC9-4D73-B3A0-BF03729328D8}"/>
    <dgm:cxn modelId="{52100F12-BE81-40CD-A68F-E3FA558C44E7}" type="presOf" srcId="{82B4419E-EA02-41F8-8851-D338BCF00BF0}" destId="{0EE2C3EC-54D5-48DD-BB5E-1E84B5C6767E}" srcOrd="0" destOrd="0" presId="urn:microsoft.com/office/officeart/2005/8/layout/lProcess3"/>
    <dgm:cxn modelId="{1229EF09-38DE-4DBC-A8DA-8DE3EE5592E3}" type="presOf" srcId="{6D8F2393-DBD3-466D-BB9D-AE10062D1E45}" destId="{9E6C8AC0-5D21-43F3-83C4-CC1B7203E690}" srcOrd="0" destOrd="0" presId="urn:microsoft.com/office/officeart/2005/8/layout/lProcess3"/>
    <dgm:cxn modelId="{513E01FD-B6A1-47A4-BA13-6B2B22AF080B}" type="presOf" srcId="{C869D024-6F94-4126-B283-6DC434C89154}" destId="{54E5B12B-5A5F-4DFD-A255-6C8C32526395}" srcOrd="0" destOrd="0" presId="urn:microsoft.com/office/officeart/2005/8/layout/lProcess3"/>
    <dgm:cxn modelId="{3C475407-F480-4626-964A-7BA9A53E8463}" srcId="{23193460-2B00-4BBA-B2EF-55CC2B44251D}" destId="{7EDDC5A2-9A6F-4101-B5CB-77EDED0EB09F}" srcOrd="2" destOrd="0" parTransId="{994A2668-1209-4FF4-84C6-EBEFEE5719F7}" sibTransId="{6F48EEA3-B2B6-4574-A8AF-5F75DE2E1693}"/>
    <dgm:cxn modelId="{A06ED7D0-5EC6-4BB4-ABCA-D6158815A588}" type="presOf" srcId="{8835A891-43B3-4F45-A35D-0FEC54C4FA75}" destId="{267F98CF-3B0B-4374-BA95-4747FC32EBB6}" srcOrd="0" destOrd="0" presId="urn:microsoft.com/office/officeart/2005/8/layout/lProcess3"/>
    <dgm:cxn modelId="{0425F08E-D745-4524-BEC2-07ED372F5441}" type="presOf" srcId="{2B87F55F-3DDA-4DB8-85DC-69C630658C4A}" destId="{9DA68F1C-8A13-4764-9EED-8C5C1AC113E6}" srcOrd="0" destOrd="0" presId="urn:microsoft.com/office/officeart/2005/8/layout/lProcess3"/>
    <dgm:cxn modelId="{0123C213-567B-4983-9A19-D21B7B88431D}" type="presOf" srcId="{545954EC-4953-467F-8E27-933BAB5A8E05}" destId="{5F155100-7715-4A17-90EE-690DB2345E60}" srcOrd="0" destOrd="0" presId="urn:microsoft.com/office/officeart/2005/8/layout/lProcess3"/>
    <dgm:cxn modelId="{17F6472B-5BE6-4D2E-9D5C-06CFDFAC0AA4}" type="presOf" srcId="{647DD7A5-0012-436B-BAB9-BDE52DC25B90}" destId="{F6E04653-AC57-46CE-A503-3CBBAD1D7D39}" srcOrd="0" destOrd="0" presId="urn:microsoft.com/office/officeart/2005/8/layout/lProcess3"/>
    <dgm:cxn modelId="{C355C560-CE03-445B-A62A-70AC2F8C5F66}" srcId="{647DD7A5-0012-436B-BAB9-BDE52DC25B90}" destId="{1F00858C-756E-438F-ACFC-655C02058CEA}" srcOrd="3" destOrd="0" parTransId="{3C5879BC-6281-4669-8BEF-2E0C6AD6F405}" sibTransId="{E87351C3-C3F4-4BF9-BC9D-FD82FB04DFC6}"/>
    <dgm:cxn modelId="{0F2B4D9A-D250-4509-8C2D-04C9963529A6}" srcId="{77057A3B-3645-4900-95DC-090CD2DB9683}" destId="{27A89387-7B3B-4188-A28B-6E38537CFD19}" srcOrd="0" destOrd="0" parTransId="{3740C790-FB91-4EEF-9193-83BDD7896895}" sibTransId="{FCD6D5E8-E559-4B35-8AD2-0764F3E4CB3B}"/>
    <dgm:cxn modelId="{03DFE1E2-F88B-4EEB-A772-5D88591C3F04}" type="presParOf" srcId="{1DE78E1A-287A-4644-911E-2C3E7FDD395B}" destId="{1A84AAE2-0808-451B-B00F-51978064A56A}" srcOrd="0" destOrd="0" presId="urn:microsoft.com/office/officeart/2005/8/layout/lProcess3"/>
    <dgm:cxn modelId="{86D7E632-AAFC-48EB-8068-6819A505285C}" type="presParOf" srcId="{1A84AAE2-0808-451B-B00F-51978064A56A}" destId="{F6E04653-AC57-46CE-A503-3CBBAD1D7D39}" srcOrd="0" destOrd="0" presId="urn:microsoft.com/office/officeart/2005/8/layout/lProcess3"/>
    <dgm:cxn modelId="{B9195C12-F1FA-4333-A756-11F46AF9462E}" type="presParOf" srcId="{1A84AAE2-0808-451B-B00F-51978064A56A}" destId="{2FD405EF-9A12-4113-837F-4235A9C8BCDF}" srcOrd="1" destOrd="0" presId="urn:microsoft.com/office/officeart/2005/8/layout/lProcess3"/>
    <dgm:cxn modelId="{873A17B3-8164-4966-9FE4-8F31D8D3400D}" type="presParOf" srcId="{1A84AAE2-0808-451B-B00F-51978064A56A}" destId="{9E6C8AC0-5D21-43F3-83C4-CC1B7203E690}" srcOrd="2" destOrd="0" presId="urn:microsoft.com/office/officeart/2005/8/layout/lProcess3"/>
    <dgm:cxn modelId="{E2D5FEEB-7454-46B1-8B26-5D089326A5EB}" type="presParOf" srcId="{1A84AAE2-0808-451B-B00F-51978064A56A}" destId="{12437B27-DC93-4BD7-BC2C-B48051EB2B27}" srcOrd="3" destOrd="0" presId="urn:microsoft.com/office/officeart/2005/8/layout/lProcess3"/>
    <dgm:cxn modelId="{36A65702-D9EB-4058-A5E1-C37ADE9DA79E}" type="presParOf" srcId="{1A84AAE2-0808-451B-B00F-51978064A56A}" destId="{5F155100-7715-4A17-90EE-690DB2345E60}" srcOrd="4" destOrd="0" presId="urn:microsoft.com/office/officeart/2005/8/layout/lProcess3"/>
    <dgm:cxn modelId="{272B8057-6A0B-4D91-9B6A-D8A4771593BC}" type="presParOf" srcId="{1A84AAE2-0808-451B-B00F-51978064A56A}" destId="{556E6604-75C8-47B9-8F4D-7B0C112FFCB2}" srcOrd="5" destOrd="0" presId="urn:microsoft.com/office/officeart/2005/8/layout/lProcess3"/>
    <dgm:cxn modelId="{C0704F78-2389-467F-A25B-807B3274C5B5}" type="presParOf" srcId="{1A84AAE2-0808-451B-B00F-51978064A56A}" destId="{7BCA09AF-73D2-4619-A7A7-F58A620080A0}" srcOrd="6" destOrd="0" presId="urn:microsoft.com/office/officeart/2005/8/layout/lProcess3"/>
    <dgm:cxn modelId="{A3703474-2FCD-4696-80A9-199EB8AB4DA3}" type="presParOf" srcId="{1A84AAE2-0808-451B-B00F-51978064A56A}" destId="{6993564F-6DB6-4935-B3A0-CE9427733D38}" srcOrd="7" destOrd="0" presId="urn:microsoft.com/office/officeart/2005/8/layout/lProcess3"/>
    <dgm:cxn modelId="{E72A4589-23AF-4F18-BF76-B4DE4F6EEF14}" type="presParOf" srcId="{1A84AAE2-0808-451B-B00F-51978064A56A}" destId="{6F58A52D-AFF9-49F5-8538-1AB9A54C1571}" srcOrd="8" destOrd="0" presId="urn:microsoft.com/office/officeart/2005/8/layout/lProcess3"/>
    <dgm:cxn modelId="{ED12AC98-406E-4181-B36E-E5DCCA79B2DA}" type="presParOf" srcId="{1A84AAE2-0808-451B-B00F-51978064A56A}" destId="{26A65A6A-FEA9-4FF4-AB74-E96C5C5FD924}" srcOrd="9" destOrd="0" presId="urn:microsoft.com/office/officeart/2005/8/layout/lProcess3"/>
    <dgm:cxn modelId="{3194EB45-0636-4686-9137-AC183D0C0CE3}" type="presParOf" srcId="{1A84AAE2-0808-451B-B00F-51978064A56A}" destId="{9DA68F1C-8A13-4764-9EED-8C5C1AC113E6}" srcOrd="10" destOrd="0" presId="urn:microsoft.com/office/officeart/2005/8/layout/lProcess3"/>
    <dgm:cxn modelId="{DF5CBDB7-2623-46A5-A952-C0DF06C46FF2}" type="presParOf" srcId="{1DE78E1A-287A-4644-911E-2C3E7FDD395B}" destId="{0D952C92-7C21-4671-AE94-64DCC08CB47C}" srcOrd="1" destOrd="0" presId="urn:microsoft.com/office/officeart/2005/8/layout/lProcess3"/>
    <dgm:cxn modelId="{C838AD49-E1E4-4872-AC9A-B11B83F071F1}" type="presParOf" srcId="{1DE78E1A-287A-4644-911E-2C3E7FDD395B}" destId="{FED88096-892B-4EC2-9E54-1AC122C68345}" srcOrd="2" destOrd="0" presId="urn:microsoft.com/office/officeart/2005/8/layout/lProcess3"/>
    <dgm:cxn modelId="{750C95E6-565B-43DF-8EAB-BB598045D0E9}" type="presParOf" srcId="{FED88096-892B-4EC2-9E54-1AC122C68345}" destId="{45A1425D-2946-43E1-B1EC-77043B192449}" srcOrd="0" destOrd="0" presId="urn:microsoft.com/office/officeart/2005/8/layout/lProcess3"/>
    <dgm:cxn modelId="{CA615CAB-EB8B-4A93-93C9-1FC67FBA607B}" type="presParOf" srcId="{FED88096-892B-4EC2-9E54-1AC122C68345}" destId="{6EDFC9BE-7488-47C8-9C6B-A9C6D1E82C02}" srcOrd="1" destOrd="0" presId="urn:microsoft.com/office/officeart/2005/8/layout/lProcess3"/>
    <dgm:cxn modelId="{5BA53591-4418-4DE6-ADB5-ECAAF47B2303}" type="presParOf" srcId="{FED88096-892B-4EC2-9E54-1AC122C68345}" destId="{050DB05E-783F-4CCF-9747-F95A7E32D478}" srcOrd="2" destOrd="0" presId="urn:microsoft.com/office/officeart/2005/8/layout/lProcess3"/>
    <dgm:cxn modelId="{E09145B5-25C5-4651-ADB2-4B7228A525BE}" type="presParOf" srcId="{FED88096-892B-4EC2-9E54-1AC122C68345}" destId="{3F8234F6-BDB0-48B1-8C45-48C899BF167B}" srcOrd="3" destOrd="0" presId="urn:microsoft.com/office/officeart/2005/8/layout/lProcess3"/>
    <dgm:cxn modelId="{FDDAC889-786C-4595-9C72-F764630E9630}" type="presParOf" srcId="{FED88096-892B-4EC2-9E54-1AC122C68345}" destId="{EE523708-1E1B-4AAA-A918-8F0DB46124F9}" srcOrd="4" destOrd="0" presId="urn:microsoft.com/office/officeart/2005/8/layout/lProcess3"/>
    <dgm:cxn modelId="{0A474BF0-7B53-4D3B-BB46-B3B905DA9B6C}" type="presParOf" srcId="{FED88096-892B-4EC2-9E54-1AC122C68345}" destId="{394A353D-2412-4CC3-8B67-F3A0F8C998EB}" srcOrd="5" destOrd="0" presId="urn:microsoft.com/office/officeart/2005/8/layout/lProcess3"/>
    <dgm:cxn modelId="{96C6BCB3-D62C-4445-89F4-5D967A415F50}" type="presParOf" srcId="{FED88096-892B-4EC2-9E54-1AC122C68345}" destId="{87B307EE-F7E3-478C-99DF-363D7920F82C}" srcOrd="6" destOrd="0" presId="urn:microsoft.com/office/officeart/2005/8/layout/lProcess3"/>
    <dgm:cxn modelId="{017CA1E8-334C-4724-ACA9-B08BA176049F}" type="presParOf" srcId="{FED88096-892B-4EC2-9E54-1AC122C68345}" destId="{1F7177C5-C327-4167-AB92-530115D8A37A}" srcOrd="7" destOrd="0" presId="urn:microsoft.com/office/officeart/2005/8/layout/lProcess3"/>
    <dgm:cxn modelId="{8D9D76B5-1C06-466E-9223-DC965F56770C}" type="presParOf" srcId="{FED88096-892B-4EC2-9E54-1AC122C68345}" destId="{CED8139D-1618-489C-91A6-6B435D2A051E}" srcOrd="8" destOrd="0" presId="urn:microsoft.com/office/officeart/2005/8/layout/lProcess3"/>
    <dgm:cxn modelId="{126F53A2-608D-4627-9E22-307208EB89E0}" type="presParOf" srcId="{FED88096-892B-4EC2-9E54-1AC122C68345}" destId="{232C0BA6-DDAE-4F0C-A30C-002BE01369D9}" srcOrd="9" destOrd="0" presId="urn:microsoft.com/office/officeart/2005/8/layout/lProcess3"/>
    <dgm:cxn modelId="{48279FFF-5572-46B4-AA3B-B05EEABA6BB1}" type="presParOf" srcId="{FED88096-892B-4EC2-9E54-1AC122C68345}" destId="{76A59E32-1369-43F3-BA20-12EAEE339E49}" srcOrd="10" destOrd="0" presId="urn:microsoft.com/office/officeart/2005/8/layout/lProcess3"/>
    <dgm:cxn modelId="{A10D23F7-F880-4CC8-97AB-65A298E5F8E7}" type="presParOf" srcId="{1DE78E1A-287A-4644-911E-2C3E7FDD395B}" destId="{91A9BBBC-E226-44ED-B966-18A36F466E5B}" srcOrd="3" destOrd="0" presId="urn:microsoft.com/office/officeart/2005/8/layout/lProcess3"/>
    <dgm:cxn modelId="{592FA729-8145-4D18-B756-C68F20532742}" type="presParOf" srcId="{1DE78E1A-287A-4644-911E-2C3E7FDD395B}" destId="{DAD2B607-B187-469D-B28A-EE687D766071}" srcOrd="4" destOrd="0" presId="urn:microsoft.com/office/officeart/2005/8/layout/lProcess3"/>
    <dgm:cxn modelId="{10021B57-99D7-452F-AD30-D0758ACD36DA}" type="presParOf" srcId="{DAD2B607-B187-469D-B28A-EE687D766071}" destId="{AC514612-8832-4B0F-86D0-3200CCE54AE0}" srcOrd="0" destOrd="0" presId="urn:microsoft.com/office/officeart/2005/8/layout/lProcess3"/>
    <dgm:cxn modelId="{FB910D25-0CDE-47C2-9B19-082D1319B083}" type="presParOf" srcId="{DAD2B607-B187-469D-B28A-EE687D766071}" destId="{71A396D0-074E-437B-B2EF-A0B34E0BE7F7}" srcOrd="1" destOrd="0" presId="urn:microsoft.com/office/officeart/2005/8/layout/lProcess3"/>
    <dgm:cxn modelId="{A652C5B9-1CCD-407C-8055-2F629BCB8D4B}" type="presParOf" srcId="{DAD2B607-B187-469D-B28A-EE687D766071}" destId="{F6BDEFCB-7EF5-4C67-9CC3-C8A5F8837BEC}" srcOrd="2" destOrd="0" presId="urn:microsoft.com/office/officeart/2005/8/layout/lProcess3"/>
    <dgm:cxn modelId="{F75138C2-7F3B-4A06-A333-2041F85A337D}" type="presParOf" srcId="{DAD2B607-B187-469D-B28A-EE687D766071}" destId="{AB380205-9165-48BE-90AF-1D37155F4626}" srcOrd="3" destOrd="0" presId="urn:microsoft.com/office/officeart/2005/8/layout/lProcess3"/>
    <dgm:cxn modelId="{1A5F15D3-A5A1-4A8C-81B7-C7C280F31E86}" type="presParOf" srcId="{DAD2B607-B187-469D-B28A-EE687D766071}" destId="{58186B43-07B2-485C-BAFC-A38A2D2CA252}" srcOrd="4" destOrd="0" presId="urn:microsoft.com/office/officeart/2005/8/layout/lProcess3"/>
    <dgm:cxn modelId="{84EE89C9-E0E2-4A56-BF61-6CE92D98D1F1}" type="presParOf" srcId="{DAD2B607-B187-469D-B28A-EE687D766071}" destId="{7D78B4A9-2CA2-46A7-9724-90A84F6E3D1B}" srcOrd="5" destOrd="0" presId="urn:microsoft.com/office/officeart/2005/8/layout/lProcess3"/>
    <dgm:cxn modelId="{A3E9765F-3125-46B7-960A-427A60457FD2}" type="presParOf" srcId="{DAD2B607-B187-469D-B28A-EE687D766071}" destId="{0147A711-EAE7-444C-88B2-0E0CB88E6274}" srcOrd="6" destOrd="0" presId="urn:microsoft.com/office/officeart/2005/8/layout/lProcess3"/>
    <dgm:cxn modelId="{5CCCBA00-1852-489B-AF9D-764F6920A961}" type="presParOf" srcId="{DAD2B607-B187-469D-B28A-EE687D766071}" destId="{83242370-A8A0-49D9-8F01-B0DBCCE9E329}" srcOrd="7" destOrd="0" presId="urn:microsoft.com/office/officeart/2005/8/layout/lProcess3"/>
    <dgm:cxn modelId="{408F77B0-5725-4833-A6F1-EEFF94D0785F}" type="presParOf" srcId="{DAD2B607-B187-469D-B28A-EE687D766071}" destId="{9FA528D7-26AC-4E04-B14F-E0155359DB2B}" srcOrd="8" destOrd="0" presId="urn:microsoft.com/office/officeart/2005/8/layout/lProcess3"/>
    <dgm:cxn modelId="{34B7B0BB-AC67-4C22-B383-374F59BFDCC0}" type="presParOf" srcId="{DAD2B607-B187-469D-B28A-EE687D766071}" destId="{830719E3-B039-41C3-82E1-9E3518710380}" srcOrd="9" destOrd="0" presId="urn:microsoft.com/office/officeart/2005/8/layout/lProcess3"/>
    <dgm:cxn modelId="{6A9353A4-2133-49B4-B11B-25B5C1EFD7C6}" type="presParOf" srcId="{DAD2B607-B187-469D-B28A-EE687D766071}" destId="{6E216FF8-2780-4ABE-969B-CDD8F6583DDC}" srcOrd="10" destOrd="0" presId="urn:microsoft.com/office/officeart/2005/8/layout/lProcess3"/>
    <dgm:cxn modelId="{5E115026-1A78-47EC-B3B9-C6FDE6A3F4E8}" type="presParOf" srcId="{1DE78E1A-287A-4644-911E-2C3E7FDD395B}" destId="{8666EA12-234D-4CB4-8E75-0C81F718C0A9}" srcOrd="5" destOrd="0" presId="urn:microsoft.com/office/officeart/2005/8/layout/lProcess3"/>
    <dgm:cxn modelId="{DCA1D852-6117-4736-8EBA-50E6F909EDED}" type="presParOf" srcId="{1DE78E1A-287A-4644-911E-2C3E7FDD395B}" destId="{0D0AE263-B1EA-44DD-9FE2-9CAC606D6FC5}" srcOrd="6" destOrd="0" presId="urn:microsoft.com/office/officeart/2005/8/layout/lProcess3"/>
    <dgm:cxn modelId="{50D7AD5F-9B18-4CF5-9461-59BB5EBFC5EB}" type="presParOf" srcId="{0D0AE263-B1EA-44DD-9FE2-9CAC606D6FC5}" destId="{01295B02-5629-4790-BB4D-A7650C590746}" srcOrd="0" destOrd="0" presId="urn:microsoft.com/office/officeart/2005/8/layout/lProcess3"/>
    <dgm:cxn modelId="{D614DE7C-0F7B-4A82-B391-2177E6EB656A}" type="presParOf" srcId="{0D0AE263-B1EA-44DD-9FE2-9CAC606D6FC5}" destId="{A75BC414-AEA6-434B-B674-287E649E0B5D}" srcOrd="1" destOrd="0" presId="urn:microsoft.com/office/officeart/2005/8/layout/lProcess3"/>
    <dgm:cxn modelId="{08BBBF0A-BC97-4D66-B6A1-6C5384587FBA}" type="presParOf" srcId="{0D0AE263-B1EA-44DD-9FE2-9CAC606D6FC5}" destId="{6EF753EC-17CD-46A6-81D5-6C737C6C4D8F}" srcOrd="2" destOrd="0" presId="urn:microsoft.com/office/officeart/2005/8/layout/lProcess3"/>
    <dgm:cxn modelId="{E7B52315-F888-4FB9-8EAF-5F269D19EDD9}" type="presParOf" srcId="{0D0AE263-B1EA-44DD-9FE2-9CAC606D6FC5}" destId="{F90259C5-94CE-4646-9BBB-9D77BAFCC246}" srcOrd="3" destOrd="0" presId="urn:microsoft.com/office/officeart/2005/8/layout/lProcess3"/>
    <dgm:cxn modelId="{6B494ED2-D653-412A-9B2C-E1A385520822}" type="presParOf" srcId="{0D0AE263-B1EA-44DD-9FE2-9CAC606D6FC5}" destId="{63D44174-705A-471D-8957-98F128C02313}" srcOrd="4" destOrd="0" presId="urn:microsoft.com/office/officeart/2005/8/layout/lProcess3"/>
    <dgm:cxn modelId="{224B64EA-CD0E-4FA3-A85E-1D54DCECD0FD}" type="presParOf" srcId="{0D0AE263-B1EA-44DD-9FE2-9CAC606D6FC5}" destId="{F97E5AF9-947E-4CC6-9073-F777788D2625}" srcOrd="5" destOrd="0" presId="urn:microsoft.com/office/officeart/2005/8/layout/lProcess3"/>
    <dgm:cxn modelId="{EBAD3D41-9233-4304-8413-BA30350E04F8}" type="presParOf" srcId="{0D0AE263-B1EA-44DD-9FE2-9CAC606D6FC5}" destId="{A7989C51-1EF4-4500-81D6-6D719DDD68D0}" srcOrd="6" destOrd="0" presId="urn:microsoft.com/office/officeart/2005/8/layout/lProcess3"/>
    <dgm:cxn modelId="{55322381-A1F4-4096-9562-23DEEC8CFEDE}" type="presParOf" srcId="{0D0AE263-B1EA-44DD-9FE2-9CAC606D6FC5}" destId="{49AEC048-1AAE-4592-9445-E9DFA3B4AE30}" srcOrd="7" destOrd="0" presId="urn:microsoft.com/office/officeart/2005/8/layout/lProcess3"/>
    <dgm:cxn modelId="{514DB903-515B-47F0-AF3F-37CBE505991C}" type="presParOf" srcId="{0D0AE263-B1EA-44DD-9FE2-9CAC606D6FC5}" destId="{A13861A0-3C4D-407A-AD33-595EDBF2F097}" srcOrd="8" destOrd="0" presId="urn:microsoft.com/office/officeart/2005/8/layout/lProcess3"/>
    <dgm:cxn modelId="{E5B4B962-20B0-4FE4-81F2-F884317740DD}" type="presParOf" srcId="{0D0AE263-B1EA-44DD-9FE2-9CAC606D6FC5}" destId="{4A81BF62-7FD5-4E20-9909-F9C72ED58289}" srcOrd="9" destOrd="0" presId="urn:microsoft.com/office/officeart/2005/8/layout/lProcess3"/>
    <dgm:cxn modelId="{CA5657B5-167D-4D10-9C29-4BE85B326F2E}" type="presParOf" srcId="{0D0AE263-B1EA-44DD-9FE2-9CAC606D6FC5}" destId="{0EE2C3EC-54D5-48DD-BB5E-1E84B5C6767E}" srcOrd="10" destOrd="0" presId="urn:microsoft.com/office/officeart/2005/8/layout/lProcess3"/>
    <dgm:cxn modelId="{C9059DE4-524E-4262-BBB3-6DF9611E58F0}" type="presParOf" srcId="{1DE78E1A-287A-4644-911E-2C3E7FDD395B}" destId="{DCF6DC2F-5145-4A69-9352-14B4B105CEA7}" srcOrd="7" destOrd="0" presId="urn:microsoft.com/office/officeart/2005/8/layout/lProcess3"/>
    <dgm:cxn modelId="{F7857194-1AE9-4758-AEBD-9E7B3A5474B8}" type="presParOf" srcId="{1DE78E1A-287A-4644-911E-2C3E7FDD395B}" destId="{B96505B2-8244-4CEC-B020-828904E4E906}" srcOrd="8" destOrd="0" presId="urn:microsoft.com/office/officeart/2005/8/layout/lProcess3"/>
    <dgm:cxn modelId="{DF9F2F89-2C42-485F-8247-D1698F987F36}" type="presParOf" srcId="{B96505B2-8244-4CEC-B020-828904E4E906}" destId="{369C16FF-CB50-4D98-9172-0EA7B2F7C0E9}" srcOrd="0" destOrd="0" presId="urn:microsoft.com/office/officeart/2005/8/layout/lProcess3"/>
    <dgm:cxn modelId="{DE49424A-593C-40FC-BA9F-2874408692CB}" type="presParOf" srcId="{B96505B2-8244-4CEC-B020-828904E4E906}" destId="{C7EE0844-4E45-4E96-9DFA-0A8C0F2C9AA6}" srcOrd="1" destOrd="0" presId="urn:microsoft.com/office/officeart/2005/8/layout/lProcess3"/>
    <dgm:cxn modelId="{01C36C4E-2B8F-4FD6-91EB-5E3E053627E1}" type="presParOf" srcId="{B96505B2-8244-4CEC-B020-828904E4E906}" destId="{F9B40E24-8054-4554-8AF6-D6B681E13EA0}" srcOrd="2" destOrd="0" presId="urn:microsoft.com/office/officeart/2005/8/layout/lProcess3"/>
    <dgm:cxn modelId="{4A11EAFA-E02E-475A-BA17-141D0EF9EE0A}" type="presParOf" srcId="{B96505B2-8244-4CEC-B020-828904E4E906}" destId="{C5B67E5E-B363-42E2-80C1-79C2B5650A3A}" srcOrd="3" destOrd="0" presId="urn:microsoft.com/office/officeart/2005/8/layout/lProcess3"/>
    <dgm:cxn modelId="{596FC311-7E47-44D5-805C-B45E2CF42654}" type="presParOf" srcId="{B96505B2-8244-4CEC-B020-828904E4E906}" destId="{F7823181-D95C-4548-8D31-3B61A998A8F3}" srcOrd="4" destOrd="0" presId="urn:microsoft.com/office/officeart/2005/8/layout/lProcess3"/>
    <dgm:cxn modelId="{33C7CDB5-2F78-4CE4-A69A-BE686111EB9F}" type="presParOf" srcId="{B96505B2-8244-4CEC-B020-828904E4E906}" destId="{AC437654-8085-4057-89E9-126A4BC75DAF}" srcOrd="5" destOrd="0" presId="urn:microsoft.com/office/officeart/2005/8/layout/lProcess3"/>
    <dgm:cxn modelId="{1DC76683-74EC-4263-8B86-EB88A3604628}" type="presParOf" srcId="{B96505B2-8244-4CEC-B020-828904E4E906}" destId="{54E5B12B-5A5F-4DFD-A255-6C8C32526395}" srcOrd="6" destOrd="0" presId="urn:microsoft.com/office/officeart/2005/8/layout/lProcess3"/>
    <dgm:cxn modelId="{B87BFC85-B4BE-430E-9B2A-D52951171164}" type="presParOf" srcId="{B96505B2-8244-4CEC-B020-828904E4E906}" destId="{DE0F41F1-1B55-44E1-9D5A-189E52E87322}" srcOrd="7" destOrd="0" presId="urn:microsoft.com/office/officeart/2005/8/layout/lProcess3"/>
    <dgm:cxn modelId="{75369953-6E9B-4ADD-8257-256B0B061AAB}" type="presParOf" srcId="{B96505B2-8244-4CEC-B020-828904E4E906}" destId="{9D541BD9-D6A2-43C7-B91C-2D697E81376F}" srcOrd="8" destOrd="0" presId="urn:microsoft.com/office/officeart/2005/8/layout/lProcess3"/>
    <dgm:cxn modelId="{8341DEC8-1DCA-483B-A920-E399B635FA8A}" type="presParOf" srcId="{B96505B2-8244-4CEC-B020-828904E4E906}" destId="{603039C6-CA7A-4BF0-B9C3-E55981299194}" srcOrd="9" destOrd="0" presId="urn:microsoft.com/office/officeart/2005/8/layout/lProcess3"/>
    <dgm:cxn modelId="{E75BD234-760B-4A8A-A120-C1675BCE22C4}" type="presParOf" srcId="{B96505B2-8244-4CEC-B020-828904E4E906}" destId="{267F98CF-3B0B-4374-BA95-4747FC32EBB6}" srcOrd="10" destOrd="0" presId="urn:microsoft.com/office/officeart/2005/8/layout/lProcess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rgbClr val="C00000"/>
        </a:solidFill>
      </dgm:spPr>
      <dgm:t>
        <a:bodyPr/>
        <a:lstStyle/>
        <a:p>
          <a:r>
            <a:rPr lang="nl-NL" sz="800" b="1"/>
            <a:t>Basis op orde</a:t>
          </a:r>
        </a:p>
      </dgm:t>
    </dgm:pt>
    <dgm:pt modelId="{90CEC079-2C69-41B6-A11B-29F32A953409}" type="parTrans" cxnId="{136CBB68-B79D-4521-AE05-448CD2A0E6BA}">
      <dgm:prSet/>
      <dgm:spPr/>
      <dgm:t>
        <a:bodyPr/>
        <a:lstStyle/>
        <a:p>
          <a:endParaRPr lang="nl-NL" sz="800"/>
        </a:p>
      </dgm:t>
    </dgm:pt>
    <dgm:pt modelId="{4C5F13E2-FD46-474E-9734-841DF2E80CD5}" type="sibTrans" cxnId="{136CBB68-B79D-4521-AE05-448CD2A0E6BA}">
      <dgm:prSet/>
      <dgm:spPr/>
      <dgm:t>
        <a:bodyPr/>
        <a:lstStyle/>
        <a:p>
          <a:endParaRPr lang="nl-NL" sz="800"/>
        </a:p>
      </dgm:t>
    </dgm:pt>
    <dgm:pt modelId="{FBBC417D-E75A-4A89-90B5-F76D2564EA98}">
      <dgm:prSet phldrT="[Tekst]" custT="1"/>
      <dgm:spPr/>
      <dgm:t>
        <a:bodyPr/>
        <a:lstStyle/>
        <a:p>
          <a:r>
            <a:rPr lang="nl-NL" sz="800"/>
            <a:t>Venieuw-ing</a:t>
          </a:r>
        </a:p>
      </dgm:t>
    </dgm:pt>
    <dgm:pt modelId="{017A22D2-AB94-4F34-AE80-AE4198788B30}" type="parTrans" cxnId="{53B4E618-B6DE-4430-9FAD-3105A6B819D5}">
      <dgm:prSet/>
      <dgm:spPr/>
      <dgm:t>
        <a:bodyPr/>
        <a:lstStyle/>
        <a:p>
          <a:endParaRPr lang="nl-NL" sz="800"/>
        </a:p>
      </dgm:t>
    </dgm:pt>
    <dgm:pt modelId="{DE8A5A4F-72F1-4A7A-AF3F-37A2C95F5B5B}" type="sibTrans" cxnId="{53B4E618-B6DE-4430-9FAD-3105A6B819D5}">
      <dgm:prSet/>
      <dgm:spPr/>
      <dgm:t>
        <a:bodyPr/>
        <a:lstStyle/>
        <a:p>
          <a:endParaRPr lang="nl-NL" sz="800"/>
        </a:p>
      </dgm:t>
    </dgm:pt>
    <dgm:pt modelId="{33643B5F-5FC7-4C05-9884-05240B030279}">
      <dgm:prSet phldrT="[Tekst]" custT="1"/>
      <dgm:spPr/>
      <dgm:t>
        <a:bodyPr/>
        <a:lstStyle/>
        <a:p>
          <a:r>
            <a:rPr lang="nl-NL" sz="800"/>
            <a:t>Data</a:t>
          </a:r>
        </a:p>
      </dgm:t>
    </dgm:pt>
    <dgm:pt modelId="{685934F8-BE15-4034-8B7A-6B1669A529F6}" type="parTrans" cxnId="{748CEF89-6D06-4022-B0A5-3C5BC5FAB125}">
      <dgm:prSet/>
      <dgm:spPr/>
      <dgm:t>
        <a:bodyPr/>
        <a:lstStyle/>
        <a:p>
          <a:endParaRPr lang="nl-NL" sz="800"/>
        </a:p>
      </dgm:t>
    </dgm:pt>
    <dgm:pt modelId="{EAB910D8-57FA-42B6-966E-85994268F6BF}" type="sibTrans" cxnId="{748CEF89-6D06-4022-B0A5-3C5BC5FAB125}">
      <dgm:prSet/>
      <dgm:spPr/>
      <dgm:t>
        <a:bodyPr/>
        <a:lstStyle/>
        <a:p>
          <a:endParaRPr lang="nl-NL" sz="8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2592" custLinFactNeighborY="258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rgbClr val="C00000"/>
        </a:solidFill>
      </dgm:spPr>
      <dgm:t>
        <a:bodyPr/>
        <a:lstStyle/>
        <a:p>
          <a:r>
            <a:rPr lang="nl-NL" sz="800" b="1"/>
            <a:t>Basis op orde</a:t>
          </a:r>
        </a:p>
      </dgm:t>
    </dgm:pt>
    <dgm:pt modelId="{90CEC079-2C69-41B6-A11B-29F32A953409}" type="parTrans" cxnId="{136CBB68-B79D-4521-AE05-448CD2A0E6BA}">
      <dgm:prSet/>
      <dgm:spPr/>
      <dgm:t>
        <a:bodyPr/>
        <a:lstStyle/>
        <a:p>
          <a:endParaRPr lang="nl-NL" sz="800"/>
        </a:p>
      </dgm:t>
    </dgm:pt>
    <dgm:pt modelId="{4C5F13E2-FD46-474E-9734-841DF2E80CD5}" type="sibTrans" cxnId="{136CBB68-B79D-4521-AE05-448CD2A0E6BA}">
      <dgm:prSet/>
      <dgm:spPr/>
      <dgm:t>
        <a:bodyPr/>
        <a:lstStyle/>
        <a:p>
          <a:endParaRPr lang="nl-NL" sz="800"/>
        </a:p>
      </dgm:t>
    </dgm:pt>
    <dgm:pt modelId="{FBBC417D-E75A-4A89-90B5-F76D2564EA98}">
      <dgm:prSet phldrT="[Tekst]" custT="1"/>
      <dgm:spPr/>
      <dgm:t>
        <a:bodyPr/>
        <a:lstStyle/>
        <a:p>
          <a:r>
            <a:rPr lang="nl-NL" sz="800"/>
            <a:t>Venieuw-ing</a:t>
          </a:r>
        </a:p>
      </dgm:t>
    </dgm:pt>
    <dgm:pt modelId="{017A22D2-AB94-4F34-AE80-AE4198788B30}" type="parTrans" cxnId="{53B4E618-B6DE-4430-9FAD-3105A6B819D5}">
      <dgm:prSet/>
      <dgm:spPr/>
      <dgm:t>
        <a:bodyPr/>
        <a:lstStyle/>
        <a:p>
          <a:endParaRPr lang="nl-NL" sz="800"/>
        </a:p>
      </dgm:t>
    </dgm:pt>
    <dgm:pt modelId="{DE8A5A4F-72F1-4A7A-AF3F-37A2C95F5B5B}" type="sibTrans" cxnId="{53B4E618-B6DE-4430-9FAD-3105A6B819D5}">
      <dgm:prSet/>
      <dgm:spPr/>
      <dgm:t>
        <a:bodyPr/>
        <a:lstStyle/>
        <a:p>
          <a:endParaRPr lang="nl-NL" sz="800"/>
        </a:p>
      </dgm:t>
    </dgm:pt>
    <dgm:pt modelId="{33643B5F-5FC7-4C05-9884-05240B030279}">
      <dgm:prSet phldrT="[Tekst]" custT="1"/>
      <dgm:spPr/>
      <dgm:t>
        <a:bodyPr/>
        <a:lstStyle/>
        <a:p>
          <a:r>
            <a:rPr lang="nl-NL" sz="800"/>
            <a:t>Data</a:t>
          </a:r>
        </a:p>
      </dgm:t>
    </dgm:pt>
    <dgm:pt modelId="{685934F8-BE15-4034-8B7A-6B1669A529F6}" type="parTrans" cxnId="{748CEF89-6D06-4022-B0A5-3C5BC5FAB125}">
      <dgm:prSet/>
      <dgm:spPr/>
      <dgm:t>
        <a:bodyPr/>
        <a:lstStyle/>
        <a:p>
          <a:endParaRPr lang="nl-NL" sz="800"/>
        </a:p>
      </dgm:t>
    </dgm:pt>
    <dgm:pt modelId="{EAB910D8-57FA-42B6-966E-85994268F6BF}" type="sibTrans" cxnId="{748CEF89-6D06-4022-B0A5-3C5BC5FAB125}">
      <dgm:prSet/>
      <dgm:spPr/>
      <dgm:t>
        <a:bodyPr/>
        <a:lstStyle/>
        <a:p>
          <a:endParaRPr lang="nl-NL" sz="8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2592" custLinFactNeighborY="258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rgbClr val="C00000"/>
        </a:solidFill>
      </dgm:spPr>
      <dgm:t>
        <a:bodyPr/>
        <a:lstStyle/>
        <a:p>
          <a:r>
            <a:rPr lang="nl-NL" sz="800" b="1"/>
            <a:t>Basis op orde</a:t>
          </a:r>
        </a:p>
      </dgm:t>
    </dgm:pt>
    <dgm:pt modelId="{90CEC079-2C69-41B6-A11B-29F32A953409}" type="parTrans" cxnId="{136CBB68-B79D-4521-AE05-448CD2A0E6BA}">
      <dgm:prSet/>
      <dgm:spPr/>
      <dgm:t>
        <a:bodyPr/>
        <a:lstStyle/>
        <a:p>
          <a:endParaRPr lang="nl-NL" sz="800"/>
        </a:p>
      </dgm:t>
    </dgm:pt>
    <dgm:pt modelId="{4C5F13E2-FD46-474E-9734-841DF2E80CD5}" type="sibTrans" cxnId="{136CBB68-B79D-4521-AE05-448CD2A0E6BA}">
      <dgm:prSet/>
      <dgm:spPr/>
      <dgm:t>
        <a:bodyPr/>
        <a:lstStyle/>
        <a:p>
          <a:endParaRPr lang="nl-NL" sz="800"/>
        </a:p>
      </dgm:t>
    </dgm:pt>
    <dgm:pt modelId="{FBBC417D-E75A-4A89-90B5-F76D2564EA98}">
      <dgm:prSet phldrT="[Tekst]" custT="1"/>
      <dgm:spPr/>
      <dgm:t>
        <a:bodyPr/>
        <a:lstStyle/>
        <a:p>
          <a:r>
            <a:rPr lang="nl-NL" sz="800"/>
            <a:t>Venieuw-ing</a:t>
          </a:r>
        </a:p>
      </dgm:t>
    </dgm:pt>
    <dgm:pt modelId="{017A22D2-AB94-4F34-AE80-AE4198788B30}" type="parTrans" cxnId="{53B4E618-B6DE-4430-9FAD-3105A6B819D5}">
      <dgm:prSet/>
      <dgm:spPr/>
      <dgm:t>
        <a:bodyPr/>
        <a:lstStyle/>
        <a:p>
          <a:endParaRPr lang="nl-NL" sz="800"/>
        </a:p>
      </dgm:t>
    </dgm:pt>
    <dgm:pt modelId="{DE8A5A4F-72F1-4A7A-AF3F-37A2C95F5B5B}" type="sibTrans" cxnId="{53B4E618-B6DE-4430-9FAD-3105A6B819D5}">
      <dgm:prSet/>
      <dgm:spPr/>
      <dgm:t>
        <a:bodyPr/>
        <a:lstStyle/>
        <a:p>
          <a:endParaRPr lang="nl-NL" sz="800"/>
        </a:p>
      </dgm:t>
    </dgm:pt>
    <dgm:pt modelId="{33643B5F-5FC7-4C05-9884-05240B030279}">
      <dgm:prSet phldrT="[Tekst]" custT="1"/>
      <dgm:spPr/>
      <dgm:t>
        <a:bodyPr/>
        <a:lstStyle/>
        <a:p>
          <a:r>
            <a:rPr lang="nl-NL" sz="800"/>
            <a:t>Data</a:t>
          </a:r>
        </a:p>
      </dgm:t>
    </dgm:pt>
    <dgm:pt modelId="{685934F8-BE15-4034-8B7A-6B1669A529F6}" type="parTrans" cxnId="{748CEF89-6D06-4022-B0A5-3C5BC5FAB125}">
      <dgm:prSet/>
      <dgm:spPr/>
      <dgm:t>
        <a:bodyPr/>
        <a:lstStyle/>
        <a:p>
          <a:endParaRPr lang="nl-NL" sz="800"/>
        </a:p>
      </dgm:t>
    </dgm:pt>
    <dgm:pt modelId="{EAB910D8-57FA-42B6-966E-85994268F6BF}" type="sibTrans" cxnId="{748CEF89-6D06-4022-B0A5-3C5BC5FAB125}">
      <dgm:prSet/>
      <dgm:spPr/>
      <dgm:t>
        <a:bodyPr/>
        <a:lstStyle/>
        <a:p>
          <a:endParaRPr lang="nl-NL" sz="8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2592" custLinFactNeighborY="258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28329F0-CF43-47F3-B578-E1169822C45B}" type="doc">
      <dgm:prSet loTypeId="urn:microsoft.com/office/officeart/2005/8/layout/chart3" loCatId="cycle" qsTypeId="urn:microsoft.com/office/officeart/2005/8/quickstyle/simple1" qsCatId="simple" csTypeId="urn:microsoft.com/office/officeart/2005/8/colors/accent1_2" csCatId="accent1" phldr="1"/>
      <dgm:spPr/>
    </dgm:pt>
    <dgm:pt modelId="{8D2367AB-5ADA-4768-B87A-46DBB5934C23}">
      <dgm:prSet phldrT="[Tekst]" custT="1"/>
      <dgm:spPr>
        <a:solidFill>
          <a:srgbClr val="C00000"/>
        </a:solidFill>
      </dgm:spPr>
      <dgm:t>
        <a:bodyPr/>
        <a:lstStyle/>
        <a:p>
          <a:r>
            <a:rPr lang="nl-NL" sz="800" b="1"/>
            <a:t>Basis op orde</a:t>
          </a:r>
        </a:p>
      </dgm:t>
    </dgm:pt>
    <dgm:pt modelId="{90CEC079-2C69-41B6-A11B-29F32A953409}" type="parTrans" cxnId="{136CBB68-B79D-4521-AE05-448CD2A0E6BA}">
      <dgm:prSet/>
      <dgm:spPr/>
      <dgm:t>
        <a:bodyPr/>
        <a:lstStyle/>
        <a:p>
          <a:endParaRPr lang="nl-NL" sz="800"/>
        </a:p>
      </dgm:t>
    </dgm:pt>
    <dgm:pt modelId="{4C5F13E2-FD46-474E-9734-841DF2E80CD5}" type="sibTrans" cxnId="{136CBB68-B79D-4521-AE05-448CD2A0E6BA}">
      <dgm:prSet/>
      <dgm:spPr/>
      <dgm:t>
        <a:bodyPr/>
        <a:lstStyle/>
        <a:p>
          <a:endParaRPr lang="nl-NL" sz="800"/>
        </a:p>
      </dgm:t>
    </dgm:pt>
    <dgm:pt modelId="{FBBC417D-E75A-4A89-90B5-F76D2564EA98}">
      <dgm:prSet phldrT="[Tekst]" custT="1"/>
      <dgm:spPr/>
      <dgm:t>
        <a:bodyPr/>
        <a:lstStyle/>
        <a:p>
          <a:r>
            <a:rPr lang="nl-NL" sz="800" err="1"/>
            <a:t>Venieuw-ing</a:t>
          </a:r>
          <a:endParaRPr lang="nl-NL" sz="800"/>
        </a:p>
      </dgm:t>
    </dgm:pt>
    <dgm:pt modelId="{017A22D2-AB94-4F34-AE80-AE4198788B30}" type="parTrans" cxnId="{53B4E618-B6DE-4430-9FAD-3105A6B819D5}">
      <dgm:prSet/>
      <dgm:spPr/>
      <dgm:t>
        <a:bodyPr/>
        <a:lstStyle/>
        <a:p>
          <a:endParaRPr lang="nl-NL" sz="800"/>
        </a:p>
      </dgm:t>
    </dgm:pt>
    <dgm:pt modelId="{DE8A5A4F-72F1-4A7A-AF3F-37A2C95F5B5B}" type="sibTrans" cxnId="{53B4E618-B6DE-4430-9FAD-3105A6B819D5}">
      <dgm:prSet/>
      <dgm:spPr/>
      <dgm:t>
        <a:bodyPr/>
        <a:lstStyle/>
        <a:p>
          <a:endParaRPr lang="nl-NL" sz="800"/>
        </a:p>
      </dgm:t>
    </dgm:pt>
    <dgm:pt modelId="{33643B5F-5FC7-4C05-9884-05240B030279}">
      <dgm:prSet phldrT="[Tekst]" custT="1"/>
      <dgm:spPr/>
      <dgm:t>
        <a:bodyPr/>
        <a:lstStyle/>
        <a:p>
          <a:r>
            <a:rPr lang="nl-NL" sz="800"/>
            <a:t>Data</a:t>
          </a:r>
        </a:p>
      </dgm:t>
    </dgm:pt>
    <dgm:pt modelId="{685934F8-BE15-4034-8B7A-6B1669A529F6}" type="parTrans" cxnId="{748CEF89-6D06-4022-B0A5-3C5BC5FAB125}">
      <dgm:prSet/>
      <dgm:spPr/>
      <dgm:t>
        <a:bodyPr/>
        <a:lstStyle/>
        <a:p>
          <a:endParaRPr lang="nl-NL" sz="800"/>
        </a:p>
      </dgm:t>
    </dgm:pt>
    <dgm:pt modelId="{EAB910D8-57FA-42B6-966E-85994268F6BF}" type="sibTrans" cxnId="{748CEF89-6D06-4022-B0A5-3C5BC5FAB125}">
      <dgm:prSet/>
      <dgm:spPr/>
      <dgm:t>
        <a:bodyPr/>
        <a:lstStyle/>
        <a:p>
          <a:endParaRPr lang="nl-NL" sz="800"/>
        </a:p>
      </dgm:t>
    </dgm:pt>
    <dgm:pt modelId="{39EE968E-8863-4C69-95CB-E395DD85EC36}" type="pres">
      <dgm:prSet presAssocID="{D28329F0-CF43-47F3-B578-E1169822C45B}" presName="compositeShape" presStyleCnt="0">
        <dgm:presLayoutVars>
          <dgm:chMax val="7"/>
          <dgm:dir/>
          <dgm:resizeHandles val="exact"/>
        </dgm:presLayoutVars>
      </dgm:prSet>
      <dgm:spPr/>
    </dgm:pt>
    <dgm:pt modelId="{C922AD68-D194-4552-A5CE-B50BE7C9A52E}" type="pres">
      <dgm:prSet presAssocID="{D28329F0-CF43-47F3-B578-E1169822C45B}" presName="wedge1" presStyleLbl="node1" presStyleIdx="0" presStyleCnt="3" custLinFactNeighborX="-2592" custLinFactNeighborY="2580"/>
      <dgm:spPr/>
      <dgm:t>
        <a:bodyPr/>
        <a:lstStyle/>
        <a:p>
          <a:endParaRPr lang="nl-NL"/>
        </a:p>
      </dgm:t>
    </dgm:pt>
    <dgm:pt modelId="{F5A292EF-B333-4F9B-836C-2EF407CAC9C9}" type="pres">
      <dgm:prSet presAssocID="{D28329F0-CF43-47F3-B578-E1169822C45B}" presName="wedge1Tx" presStyleLbl="node1" presStyleIdx="0" presStyleCnt="3">
        <dgm:presLayoutVars>
          <dgm:chMax val="0"/>
          <dgm:chPref val="0"/>
          <dgm:bulletEnabled val="1"/>
        </dgm:presLayoutVars>
      </dgm:prSet>
      <dgm:spPr/>
      <dgm:t>
        <a:bodyPr/>
        <a:lstStyle/>
        <a:p>
          <a:endParaRPr lang="nl-NL"/>
        </a:p>
      </dgm:t>
    </dgm:pt>
    <dgm:pt modelId="{826F2E86-6031-4C85-8175-41AC8A98B8A4}" type="pres">
      <dgm:prSet presAssocID="{D28329F0-CF43-47F3-B578-E1169822C45B}" presName="wedge2" presStyleLbl="node1" presStyleIdx="1" presStyleCnt="3"/>
      <dgm:spPr/>
      <dgm:t>
        <a:bodyPr/>
        <a:lstStyle/>
        <a:p>
          <a:endParaRPr lang="nl-NL"/>
        </a:p>
      </dgm:t>
    </dgm:pt>
    <dgm:pt modelId="{DE0B3906-D6EE-4198-9D11-76A37E003B4F}" type="pres">
      <dgm:prSet presAssocID="{D28329F0-CF43-47F3-B578-E1169822C45B}" presName="wedge2Tx" presStyleLbl="node1" presStyleIdx="1" presStyleCnt="3">
        <dgm:presLayoutVars>
          <dgm:chMax val="0"/>
          <dgm:chPref val="0"/>
          <dgm:bulletEnabled val="1"/>
        </dgm:presLayoutVars>
      </dgm:prSet>
      <dgm:spPr/>
      <dgm:t>
        <a:bodyPr/>
        <a:lstStyle/>
        <a:p>
          <a:endParaRPr lang="nl-NL"/>
        </a:p>
      </dgm:t>
    </dgm:pt>
    <dgm:pt modelId="{F3E8429B-7DFD-40AC-92D4-284FD6754F51}" type="pres">
      <dgm:prSet presAssocID="{D28329F0-CF43-47F3-B578-E1169822C45B}" presName="wedge3" presStyleLbl="node1" presStyleIdx="2" presStyleCnt="3" custScaleX="94552" custScaleY="94552"/>
      <dgm:spPr/>
      <dgm:t>
        <a:bodyPr/>
        <a:lstStyle/>
        <a:p>
          <a:endParaRPr lang="nl-NL"/>
        </a:p>
      </dgm:t>
    </dgm:pt>
    <dgm:pt modelId="{8BAEA6EC-8AE8-4084-9535-875718D04D47}" type="pres">
      <dgm:prSet presAssocID="{D28329F0-CF43-47F3-B578-E1169822C45B}" presName="wedge3Tx" presStyleLbl="node1" presStyleIdx="2" presStyleCnt="3">
        <dgm:presLayoutVars>
          <dgm:chMax val="0"/>
          <dgm:chPref val="0"/>
          <dgm:bulletEnabled val="1"/>
        </dgm:presLayoutVars>
      </dgm:prSet>
      <dgm:spPr/>
      <dgm:t>
        <a:bodyPr/>
        <a:lstStyle/>
        <a:p>
          <a:endParaRPr lang="nl-NL"/>
        </a:p>
      </dgm:t>
    </dgm:pt>
  </dgm:ptLst>
  <dgm:cxnLst>
    <dgm:cxn modelId="{913FA814-E287-40B8-9AB0-7A4E1C78837B}" type="presOf" srcId="{FBBC417D-E75A-4A89-90B5-F76D2564EA98}" destId="{DE0B3906-D6EE-4198-9D11-76A37E003B4F}" srcOrd="1" destOrd="0" presId="urn:microsoft.com/office/officeart/2005/8/layout/chart3"/>
    <dgm:cxn modelId="{A214E018-EC12-4DE1-9845-B91C991903BF}" type="presOf" srcId="{FBBC417D-E75A-4A89-90B5-F76D2564EA98}" destId="{826F2E86-6031-4C85-8175-41AC8A98B8A4}" srcOrd="0" destOrd="0" presId="urn:microsoft.com/office/officeart/2005/8/layout/chart3"/>
    <dgm:cxn modelId="{748CEF89-6D06-4022-B0A5-3C5BC5FAB125}" srcId="{D28329F0-CF43-47F3-B578-E1169822C45B}" destId="{33643B5F-5FC7-4C05-9884-05240B030279}" srcOrd="2" destOrd="0" parTransId="{685934F8-BE15-4034-8B7A-6B1669A529F6}" sibTransId="{EAB910D8-57FA-42B6-966E-85994268F6BF}"/>
    <dgm:cxn modelId="{3BEF2318-9637-4D5A-AEB1-0470BA2F7EFB}" type="presOf" srcId="{33643B5F-5FC7-4C05-9884-05240B030279}" destId="{8BAEA6EC-8AE8-4084-9535-875718D04D47}" srcOrd="1" destOrd="0" presId="urn:microsoft.com/office/officeart/2005/8/layout/chart3"/>
    <dgm:cxn modelId="{D8AFA043-C9BC-4536-B8DB-E5B7B8BD9841}" type="presOf" srcId="{8D2367AB-5ADA-4768-B87A-46DBB5934C23}" destId="{C922AD68-D194-4552-A5CE-B50BE7C9A52E}" srcOrd="0" destOrd="0" presId="urn:microsoft.com/office/officeart/2005/8/layout/chart3"/>
    <dgm:cxn modelId="{136CBB68-B79D-4521-AE05-448CD2A0E6BA}" srcId="{D28329F0-CF43-47F3-B578-E1169822C45B}" destId="{8D2367AB-5ADA-4768-B87A-46DBB5934C23}" srcOrd="0" destOrd="0" parTransId="{90CEC079-2C69-41B6-A11B-29F32A953409}" sibTransId="{4C5F13E2-FD46-474E-9734-841DF2E80CD5}"/>
    <dgm:cxn modelId="{53B4E618-B6DE-4430-9FAD-3105A6B819D5}" srcId="{D28329F0-CF43-47F3-B578-E1169822C45B}" destId="{FBBC417D-E75A-4A89-90B5-F76D2564EA98}" srcOrd="1" destOrd="0" parTransId="{017A22D2-AB94-4F34-AE80-AE4198788B30}" sibTransId="{DE8A5A4F-72F1-4A7A-AF3F-37A2C95F5B5B}"/>
    <dgm:cxn modelId="{BDB680D7-C744-45F4-AE17-D1C53084AAB1}" type="presOf" srcId="{D28329F0-CF43-47F3-B578-E1169822C45B}" destId="{39EE968E-8863-4C69-95CB-E395DD85EC36}" srcOrd="0" destOrd="0" presId="urn:microsoft.com/office/officeart/2005/8/layout/chart3"/>
    <dgm:cxn modelId="{DF217135-9C6B-4A82-B2A2-D0AFDC41BFF6}" type="presOf" srcId="{33643B5F-5FC7-4C05-9884-05240B030279}" destId="{F3E8429B-7DFD-40AC-92D4-284FD6754F51}" srcOrd="0" destOrd="0" presId="urn:microsoft.com/office/officeart/2005/8/layout/chart3"/>
    <dgm:cxn modelId="{6A369BC4-9C2B-48B8-9BE4-CC7B90035714}" type="presOf" srcId="{8D2367AB-5ADA-4768-B87A-46DBB5934C23}" destId="{F5A292EF-B333-4F9B-836C-2EF407CAC9C9}" srcOrd="1" destOrd="0" presId="urn:microsoft.com/office/officeart/2005/8/layout/chart3"/>
    <dgm:cxn modelId="{114C2EB5-3762-438A-89A5-FBF6E03D5625}" type="presParOf" srcId="{39EE968E-8863-4C69-95CB-E395DD85EC36}" destId="{C922AD68-D194-4552-A5CE-B50BE7C9A52E}" srcOrd="0" destOrd="0" presId="urn:microsoft.com/office/officeart/2005/8/layout/chart3"/>
    <dgm:cxn modelId="{44FCEC98-D312-4BA8-9867-465302616C82}" type="presParOf" srcId="{39EE968E-8863-4C69-95CB-E395DD85EC36}" destId="{F5A292EF-B333-4F9B-836C-2EF407CAC9C9}" srcOrd="1" destOrd="0" presId="urn:microsoft.com/office/officeart/2005/8/layout/chart3"/>
    <dgm:cxn modelId="{AD6A57B5-6E44-43C3-BEEE-3448A8BFA65D}" type="presParOf" srcId="{39EE968E-8863-4C69-95CB-E395DD85EC36}" destId="{826F2E86-6031-4C85-8175-41AC8A98B8A4}" srcOrd="2" destOrd="0" presId="urn:microsoft.com/office/officeart/2005/8/layout/chart3"/>
    <dgm:cxn modelId="{1DD54185-036A-451A-9BCA-DD8934CDE280}" type="presParOf" srcId="{39EE968E-8863-4C69-95CB-E395DD85EC36}" destId="{DE0B3906-D6EE-4198-9D11-76A37E003B4F}" srcOrd="3" destOrd="0" presId="urn:microsoft.com/office/officeart/2005/8/layout/chart3"/>
    <dgm:cxn modelId="{11DA7BFF-CAB9-4812-BD66-B6B63970CB95}" type="presParOf" srcId="{39EE968E-8863-4C69-95CB-E395DD85EC36}" destId="{F3E8429B-7DFD-40AC-92D4-284FD6754F51}" srcOrd="4" destOrd="0" presId="urn:microsoft.com/office/officeart/2005/8/layout/chart3"/>
    <dgm:cxn modelId="{474FDE4E-117F-4B32-817C-BFDBFB8C50AD}" type="presParOf" srcId="{39EE968E-8863-4C69-95CB-E395DD85EC36}" destId="{8BAEA6EC-8AE8-4084-9535-875718D04D47}" srcOrd="5" destOrd="0" presId="urn:microsoft.com/office/officeart/2005/8/layout/char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8CD359-C740-481D-BD59-BD2560959613}">
      <dsp:nvSpPr>
        <dsp:cNvPr id="0" name=""/>
        <dsp:cNvSpPr/>
      </dsp:nvSpPr>
      <dsp:spPr>
        <a:xfrm>
          <a:off x="429888" y="156944"/>
          <a:ext cx="1700110" cy="1486110"/>
        </a:xfrm>
        <a:prstGeom prst="rightArrow">
          <a:avLst>
            <a:gd name="adj1" fmla="val 70000"/>
            <a:gd name="adj2" fmla="val 50000"/>
          </a:avLst>
        </a:prstGeom>
        <a:solidFill>
          <a:srgbClr val="C00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lvl="0" algn="ctr" defTabSz="444500">
            <a:lnSpc>
              <a:spcPct val="90000"/>
            </a:lnSpc>
            <a:spcBef>
              <a:spcPct val="0"/>
            </a:spcBef>
            <a:spcAft>
              <a:spcPct val="35000"/>
            </a:spcAft>
          </a:pPr>
          <a:r>
            <a:rPr lang="nl-NL" sz="1000" b="1" kern="1200">
              <a:solidFill>
                <a:schemeClr val="bg1"/>
              </a:solidFill>
            </a:rPr>
            <a:t>Actielijnen</a:t>
          </a:r>
        </a:p>
      </dsp:txBody>
      <dsp:txXfrm>
        <a:off x="854915" y="379861"/>
        <a:ext cx="828804" cy="1040277"/>
      </dsp:txXfrm>
    </dsp:sp>
    <dsp:sp modelId="{55E9028A-3A15-49E0-B417-64EB3E37C6C2}">
      <dsp:nvSpPr>
        <dsp:cNvPr id="0" name=""/>
        <dsp:cNvSpPr/>
      </dsp:nvSpPr>
      <dsp:spPr>
        <a:xfrm>
          <a:off x="4860" y="474972"/>
          <a:ext cx="850055" cy="850055"/>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l-NL" sz="1600" b="1" kern="1200" dirty="0" smtClean="0"/>
            <a:t>2021</a:t>
          </a:r>
          <a:endParaRPr lang="nl-NL" sz="1600" b="1" kern="1200" dirty="0"/>
        </a:p>
      </dsp:txBody>
      <dsp:txXfrm>
        <a:off x="129348" y="599460"/>
        <a:ext cx="601079" cy="601079"/>
      </dsp:txXfrm>
    </dsp:sp>
    <dsp:sp modelId="{A03D105E-E942-4814-86EF-6F8466E86A5A}">
      <dsp:nvSpPr>
        <dsp:cNvPr id="0" name=""/>
        <dsp:cNvSpPr/>
      </dsp:nvSpPr>
      <dsp:spPr>
        <a:xfrm>
          <a:off x="2661283" y="156944"/>
          <a:ext cx="1700110" cy="1486110"/>
        </a:xfrm>
        <a:prstGeom prst="rightArrow">
          <a:avLst>
            <a:gd name="adj1" fmla="val 70000"/>
            <a:gd name="adj2" fmla="val 50000"/>
          </a:avLst>
        </a:prstGeom>
        <a:solidFill>
          <a:srgbClr val="C00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lvl="0" algn="ctr" defTabSz="444500">
            <a:lnSpc>
              <a:spcPct val="90000"/>
            </a:lnSpc>
            <a:spcBef>
              <a:spcPct val="0"/>
            </a:spcBef>
            <a:spcAft>
              <a:spcPct val="35000"/>
            </a:spcAft>
          </a:pPr>
          <a:r>
            <a:rPr lang="nl-NL" sz="1000" b="1" kern="1200">
              <a:solidFill>
                <a:schemeClr val="bg1"/>
              </a:solidFill>
            </a:rPr>
            <a:t>Actielijnen</a:t>
          </a:r>
        </a:p>
      </dsp:txBody>
      <dsp:txXfrm>
        <a:off x="3086311" y="379861"/>
        <a:ext cx="828804" cy="1040277"/>
      </dsp:txXfrm>
    </dsp:sp>
    <dsp:sp modelId="{919519EA-FF4D-4ECD-AF3F-B78E59F47AA7}">
      <dsp:nvSpPr>
        <dsp:cNvPr id="0" name=""/>
        <dsp:cNvSpPr/>
      </dsp:nvSpPr>
      <dsp:spPr>
        <a:xfrm>
          <a:off x="2236255" y="474972"/>
          <a:ext cx="850055" cy="850055"/>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l-NL" sz="1600" b="1" kern="1200" dirty="0" smtClean="0"/>
            <a:t>2022</a:t>
          </a:r>
          <a:endParaRPr lang="nl-NL" sz="1600" b="1" kern="1200" dirty="0"/>
        </a:p>
      </dsp:txBody>
      <dsp:txXfrm>
        <a:off x="2360743" y="599460"/>
        <a:ext cx="601079" cy="601079"/>
      </dsp:txXfrm>
    </dsp:sp>
    <dsp:sp modelId="{AE452D30-1D83-4F07-9646-72A3204B66DA}">
      <dsp:nvSpPr>
        <dsp:cNvPr id="0" name=""/>
        <dsp:cNvSpPr/>
      </dsp:nvSpPr>
      <dsp:spPr>
        <a:xfrm>
          <a:off x="4892678" y="156944"/>
          <a:ext cx="1700110" cy="1486110"/>
        </a:xfrm>
        <a:prstGeom prst="rightArrow">
          <a:avLst>
            <a:gd name="adj1" fmla="val 70000"/>
            <a:gd name="adj2" fmla="val 50000"/>
          </a:avLst>
        </a:prstGeom>
        <a:solidFill>
          <a:srgbClr val="C00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lvl="0" algn="ctr" defTabSz="444500">
            <a:lnSpc>
              <a:spcPct val="90000"/>
            </a:lnSpc>
            <a:spcBef>
              <a:spcPct val="0"/>
            </a:spcBef>
            <a:spcAft>
              <a:spcPct val="35000"/>
            </a:spcAft>
          </a:pPr>
          <a:r>
            <a:rPr lang="nl-NL" sz="1000" b="1" kern="1200">
              <a:solidFill>
                <a:schemeClr val="bg1"/>
              </a:solidFill>
            </a:rPr>
            <a:t>Actielijnen</a:t>
          </a:r>
        </a:p>
      </dsp:txBody>
      <dsp:txXfrm>
        <a:off x="5317706" y="379861"/>
        <a:ext cx="828804" cy="1040277"/>
      </dsp:txXfrm>
    </dsp:sp>
    <dsp:sp modelId="{20357942-C404-4A84-9D60-79898B03F776}">
      <dsp:nvSpPr>
        <dsp:cNvPr id="0" name=""/>
        <dsp:cNvSpPr/>
      </dsp:nvSpPr>
      <dsp:spPr>
        <a:xfrm>
          <a:off x="4467651" y="474972"/>
          <a:ext cx="850055" cy="850055"/>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l-NL" sz="1600" b="1" kern="1200" dirty="0" smtClean="0"/>
            <a:t>2023</a:t>
          </a:r>
          <a:endParaRPr lang="nl-NL" sz="1600" b="1" kern="1200" dirty="0"/>
        </a:p>
      </dsp:txBody>
      <dsp:txXfrm>
        <a:off x="4592139" y="599460"/>
        <a:ext cx="601079" cy="601079"/>
      </dsp:txXfrm>
    </dsp:sp>
    <dsp:sp modelId="{9D44D308-8921-4D4D-9901-5B7C7E4A839C}">
      <dsp:nvSpPr>
        <dsp:cNvPr id="0" name=""/>
        <dsp:cNvSpPr/>
      </dsp:nvSpPr>
      <dsp:spPr>
        <a:xfrm>
          <a:off x="7124074" y="156944"/>
          <a:ext cx="1700110" cy="1486110"/>
        </a:xfrm>
        <a:prstGeom prst="rightArrow">
          <a:avLst>
            <a:gd name="adj1" fmla="val 70000"/>
            <a:gd name="adj2" fmla="val 50000"/>
          </a:avLst>
        </a:prstGeom>
        <a:solidFill>
          <a:srgbClr val="C00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lvl="0" algn="ctr" defTabSz="444500">
            <a:lnSpc>
              <a:spcPct val="90000"/>
            </a:lnSpc>
            <a:spcBef>
              <a:spcPct val="0"/>
            </a:spcBef>
            <a:spcAft>
              <a:spcPct val="35000"/>
            </a:spcAft>
          </a:pPr>
          <a:r>
            <a:rPr lang="nl-NL" sz="1000" b="1" kern="1200">
              <a:solidFill>
                <a:schemeClr val="bg1"/>
              </a:solidFill>
            </a:rPr>
            <a:t>Actielijnen</a:t>
          </a:r>
        </a:p>
      </dsp:txBody>
      <dsp:txXfrm>
        <a:off x="7549102" y="379861"/>
        <a:ext cx="828804" cy="1040277"/>
      </dsp:txXfrm>
    </dsp:sp>
    <dsp:sp modelId="{DEE74D66-D33C-4B9C-8945-F796BEE98549}">
      <dsp:nvSpPr>
        <dsp:cNvPr id="0" name=""/>
        <dsp:cNvSpPr/>
      </dsp:nvSpPr>
      <dsp:spPr>
        <a:xfrm>
          <a:off x="6699046" y="474972"/>
          <a:ext cx="850055" cy="850055"/>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l-NL" sz="1600" b="1" kern="1200" dirty="0" smtClean="0"/>
            <a:t>2024</a:t>
          </a:r>
          <a:endParaRPr lang="nl-NL" sz="1600" b="1" kern="1200" dirty="0"/>
        </a:p>
      </dsp:txBody>
      <dsp:txXfrm>
        <a:off x="6823534" y="599460"/>
        <a:ext cx="601079" cy="601079"/>
      </dsp:txXfrm>
    </dsp:sp>
    <dsp:sp modelId="{48A9E642-769D-4E46-8E96-5A5529AD33E3}">
      <dsp:nvSpPr>
        <dsp:cNvPr id="0" name=""/>
        <dsp:cNvSpPr/>
      </dsp:nvSpPr>
      <dsp:spPr>
        <a:xfrm>
          <a:off x="9355469" y="156944"/>
          <a:ext cx="1700110" cy="1486110"/>
        </a:xfrm>
        <a:prstGeom prst="rightArrow">
          <a:avLst>
            <a:gd name="adj1" fmla="val 70000"/>
            <a:gd name="adj2" fmla="val 50000"/>
          </a:avLst>
        </a:prstGeom>
        <a:solidFill>
          <a:srgbClr val="C00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lvl="0" algn="ctr" defTabSz="444500">
            <a:lnSpc>
              <a:spcPct val="90000"/>
            </a:lnSpc>
            <a:spcBef>
              <a:spcPct val="0"/>
            </a:spcBef>
            <a:spcAft>
              <a:spcPct val="35000"/>
            </a:spcAft>
          </a:pPr>
          <a:r>
            <a:rPr lang="nl-NL" sz="1000" b="1" kern="1200">
              <a:solidFill>
                <a:schemeClr val="bg1"/>
              </a:solidFill>
            </a:rPr>
            <a:t>Actielijnen</a:t>
          </a:r>
        </a:p>
      </dsp:txBody>
      <dsp:txXfrm>
        <a:off x="9780497" y="379861"/>
        <a:ext cx="828804" cy="1040277"/>
      </dsp:txXfrm>
    </dsp:sp>
    <dsp:sp modelId="{B7082548-1CF4-444B-833D-D29EB14C1432}">
      <dsp:nvSpPr>
        <dsp:cNvPr id="0" name=""/>
        <dsp:cNvSpPr/>
      </dsp:nvSpPr>
      <dsp:spPr>
        <a:xfrm>
          <a:off x="8930442" y="474972"/>
          <a:ext cx="850055" cy="850055"/>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l-NL" sz="1600" b="1" kern="1200" dirty="0" smtClean="0"/>
            <a:t>2025</a:t>
          </a:r>
          <a:endParaRPr lang="nl-NL" sz="1600" b="1" kern="1200" dirty="0"/>
        </a:p>
      </dsp:txBody>
      <dsp:txXfrm>
        <a:off x="9054930" y="599460"/>
        <a:ext cx="601079" cy="60107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90645" y="112356"/>
          <a:ext cx="1058400" cy="1058400"/>
        </a:xfrm>
        <a:prstGeom prst="pie">
          <a:avLst>
            <a:gd name="adj1" fmla="val 16200000"/>
            <a:gd name="adj2" fmla="val 18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b="1" kern="1200"/>
            <a:t>Basis op orde</a:t>
          </a:r>
        </a:p>
      </dsp:txBody>
      <dsp:txXfrm>
        <a:off x="766087" y="307656"/>
        <a:ext cx="359100" cy="352800"/>
      </dsp:txXfrm>
    </dsp:sp>
    <dsp:sp modelId="{826F2E86-6031-4C85-8175-41AC8A98B8A4}">
      <dsp:nvSpPr>
        <dsp:cNvPr id="0" name=""/>
        <dsp:cNvSpPr/>
      </dsp:nvSpPr>
      <dsp:spPr>
        <a:xfrm>
          <a:off x="163520" y="116549"/>
          <a:ext cx="1058400" cy="1058400"/>
        </a:xfrm>
        <a:prstGeom prst="pie">
          <a:avLst>
            <a:gd name="adj1" fmla="val 1800000"/>
            <a:gd name="adj2" fmla="val 90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Venieuw-ing</a:t>
          </a:r>
        </a:p>
      </dsp:txBody>
      <dsp:txXfrm>
        <a:off x="453320" y="784350"/>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Data</a:t>
          </a:r>
        </a:p>
      </dsp:txBody>
      <dsp:txXfrm>
        <a:off x="299573" y="341954"/>
        <a:ext cx="339536" cy="33357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04653-AC57-46CE-A503-3CBBAD1D7D39}">
      <dsp:nvSpPr>
        <dsp:cNvPr id="0" name=""/>
        <dsp:cNvSpPr/>
      </dsp:nvSpPr>
      <dsp:spPr>
        <a:xfrm>
          <a:off x="2588" y="228913"/>
          <a:ext cx="1936184" cy="91973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Keten-samenwerking</a:t>
          </a:r>
        </a:p>
      </dsp:txBody>
      <dsp:txXfrm>
        <a:off x="462456" y="228913"/>
        <a:ext cx="1016448" cy="919736"/>
      </dsp:txXfrm>
    </dsp:sp>
    <dsp:sp modelId="{9E6C8AC0-5D21-43F3-83C4-CC1B7203E690}">
      <dsp:nvSpPr>
        <dsp:cNvPr id="0" name=""/>
        <dsp:cNvSpPr/>
      </dsp:nvSpPr>
      <dsp:spPr>
        <a:xfrm>
          <a:off x="1639858" y="2303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Tx/>
            <a:buNone/>
          </a:pPr>
          <a:r>
            <a:rPr lang="nl-NL" sz="900" kern="1200">
              <a:solidFill>
                <a:schemeClr val="tx1"/>
              </a:solidFill>
            </a:rPr>
            <a:t>Inrichten keten leverancier-tot-klantgroep</a:t>
          </a:r>
        </a:p>
      </dsp:txBody>
      <dsp:txXfrm>
        <a:off x="2098250" y="230390"/>
        <a:ext cx="1371052" cy="916783"/>
      </dsp:txXfrm>
    </dsp:sp>
    <dsp:sp modelId="{5F155100-7715-4A17-90EE-690DB2345E60}">
      <dsp:nvSpPr>
        <dsp:cNvPr id="0" name=""/>
        <dsp:cNvSpPr/>
      </dsp:nvSpPr>
      <dsp:spPr>
        <a:xfrm>
          <a:off x="3660510"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mj-lt"/>
            <a:buAutoNum type="alphaLcParenR" startAt="3"/>
          </a:pPr>
          <a:r>
            <a:rPr lang="nl-NL" sz="900" kern="1200">
              <a:solidFill>
                <a:schemeClr val="tx1"/>
              </a:solidFill>
            </a:rPr>
            <a:t>Ketenmonitoring uitbreiden naar externe partners</a:t>
          </a:r>
        </a:p>
      </dsp:txBody>
      <dsp:txXfrm>
        <a:off x="4118905" y="230386"/>
        <a:ext cx="1371045" cy="916790"/>
      </dsp:txXfrm>
    </dsp:sp>
    <dsp:sp modelId="{7BCA09AF-73D2-4619-A7A7-F58A620080A0}">
      <dsp:nvSpPr>
        <dsp:cNvPr id="0" name=""/>
        <dsp:cNvSpPr/>
      </dsp:nvSpPr>
      <dsp:spPr>
        <a:xfrm>
          <a:off x="5681162"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Randvoorwaarden scheppen voor ketensamenwerking door hanteren van open standaarden</a:t>
          </a:r>
        </a:p>
      </dsp:txBody>
      <dsp:txXfrm>
        <a:off x="6139557" y="230386"/>
        <a:ext cx="1371045" cy="916790"/>
      </dsp:txXfrm>
    </dsp:sp>
    <dsp:sp modelId="{6F58A52D-AFF9-49F5-8538-1AB9A54C1571}">
      <dsp:nvSpPr>
        <dsp:cNvPr id="0" name=""/>
        <dsp:cNvSpPr/>
      </dsp:nvSpPr>
      <dsp:spPr>
        <a:xfrm>
          <a:off x="7701814"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Inning Eigen Bijdrage)</a:t>
          </a:r>
        </a:p>
      </dsp:txBody>
      <dsp:txXfrm>
        <a:off x="8160209" y="230386"/>
        <a:ext cx="1371045" cy="916790"/>
      </dsp:txXfrm>
    </dsp:sp>
    <dsp:sp modelId="{9DA68F1C-8A13-4764-9EED-8C5C1AC113E6}">
      <dsp:nvSpPr>
        <dsp:cNvPr id="0" name=""/>
        <dsp:cNvSpPr/>
      </dsp:nvSpPr>
      <dsp:spPr>
        <a:xfrm>
          <a:off x="9722466"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230386"/>
        <a:ext cx="1371045" cy="916790"/>
      </dsp:txXfrm>
    </dsp:sp>
    <dsp:sp modelId="{45A1425D-2946-43E1-B1EC-77043B192449}">
      <dsp:nvSpPr>
        <dsp:cNvPr id="0" name=""/>
        <dsp:cNvSpPr/>
      </dsp:nvSpPr>
      <dsp:spPr>
        <a:xfrm>
          <a:off x="2588" y="12774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Automatisering</a:t>
          </a:r>
        </a:p>
      </dsp:txBody>
      <dsp:txXfrm>
        <a:off x="462456" y="1277413"/>
        <a:ext cx="1016448" cy="919736"/>
      </dsp:txXfrm>
    </dsp:sp>
    <dsp:sp modelId="{050DB05E-783F-4CCF-9747-F95A7E32D478}">
      <dsp:nvSpPr>
        <dsp:cNvPr id="0" name=""/>
        <dsp:cNvSpPr/>
      </dsp:nvSpPr>
      <dsp:spPr>
        <a:xfrm>
          <a:off x="1639858" y="12788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ClrTx/>
            <a:buSzTx/>
            <a:buFont typeface="+mj-lt"/>
            <a:buAutoNum type="alphaLcParenR"/>
          </a:pPr>
          <a:r>
            <a:rPr lang="nl-NL" sz="900" kern="1200"/>
            <a:t>Piketdeclaraties automatiseren</a:t>
          </a:r>
        </a:p>
      </dsp:txBody>
      <dsp:txXfrm>
        <a:off x="2098250" y="1278890"/>
        <a:ext cx="1371052" cy="916783"/>
      </dsp:txXfrm>
    </dsp:sp>
    <dsp:sp modelId="{EE523708-1E1B-4AAA-A918-8F0DB46124F9}">
      <dsp:nvSpPr>
        <dsp:cNvPr id="0" name=""/>
        <dsp:cNvSpPr/>
      </dsp:nvSpPr>
      <dsp:spPr>
        <a:xfrm>
          <a:off x="3660510"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400"/>
            </a:spcAft>
            <a:buFont typeface="+mj-lt"/>
            <a:buAutoNum type="alphaLcParenR" startAt="2"/>
          </a:pPr>
          <a:r>
            <a:rPr lang="nl-NL" sz="900" kern="1200"/>
            <a:t>Automatisering </a:t>
          </a:r>
          <a:r>
            <a:rPr lang="nl-NL" sz="900" kern="1200" err="1"/>
            <a:t>Mediation</a:t>
          </a:r>
          <a:r>
            <a:rPr lang="nl-NL" sz="900" kern="1200"/>
            <a:t> proces</a:t>
          </a:r>
        </a:p>
        <a:p>
          <a:pPr lvl="0" algn="ctr" defTabSz="400050">
            <a:lnSpc>
              <a:spcPct val="90000"/>
            </a:lnSpc>
            <a:spcBef>
              <a:spcPct val="0"/>
            </a:spcBef>
            <a:spcAft>
              <a:spcPts val="400"/>
            </a:spcAft>
          </a:pPr>
          <a:r>
            <a:rPr lang="nl-NL" sz="900" kern="1200"/>
            <a:t>Automatisering beroep- &amp; bezwaar processen</a:t>
          </a:r>
        </a:p>
        <a:p>
          <a:pPr lvl="0" algn="ctr" defTabSz="400050">
            <a:lnSpc>
              <a:spcPct val="90000"/>
            </a:lnSpc>
            <a:spcBef>
              <a:spcPct val="0"/>
            </a:spcBef>
            <a:spcAft>
              <a:spcPts val="400"/>
            </a:spcAft>
          </a:pPr>
          <a:r>
            <a:rPr lang="nl-NL" sz="900" kern="1200"/>
            <a:t>Proces asielaanvragen automatiseren</a:t>
          </a:r>
        </a:p>
      </dsp:txBody>
      <dsp:txXfrm>
        <a:off x="4118905" y="1278886"/>
        <a:ext cx="1371045" cy="916790"/>
      </dsp:txXfrm>
    </dsp:sp>
    <dsp:sp modelId="{87B307EE-F7E3-478C-99DF-363D7920F82C}">
      <dsp:nvSpPr>
        <dsp:cNvPr id="0" name=""/>
        <dsp:cNvSpPr/>
      </dsp:nvSpPr>
      <dsp:spPr>
        <a:xfrm>
          <a:off x="5681162"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Proces extra uren automatiseren</a:t>
          </a:r>
        </a:p>
      </dsp:txBody>
      <dsp:txXfrm>
        <a:off x="6139557" y="1278886"/>
        <a:ext cx="1371045" cy="916790"/>
      </dsp:txXfrm>
    </dsp:sp>
    <dsp:sp modelId="{CED8139D-1618-489C-91A6-6B435D2A051E}">
      <dsp:nvSpPr>
        <dsp:cNvPr id="0" name=""/>
        <dsp:cNvSpPr/>
      </dsp:nvSpPr>
      <dsp:spPr>
        <a:xfrm>
          <a:off x="7701814"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dere automatisering doorvoeren in nieuwe database en workflow applicatie</a:t>
          </a:r>
        </a:p>
      </dsp:txBody>
      <dsp:txXfrm>
        <a:off x="8160209" y="1278886"/>
        <a:ext cx="1371045" cy="916790"/>
      </dsp:txXfrm>
    </dsp:sp>
    <dsp:sp modelId="{76A59E32-1369-43F3-BA20-12EAEE339E49}">
      <dsp:nvSpPr>
        <dsp:cNvPr id="0" name=""/>
        <dsp:cNvSpPr/>
      </dsp:nvSpPr>
      <dsp:spPr>
        <a:xfrm>
          <a:off x="9722466"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1278886"/>
        <a:ext cx="1371045" cy="916790"/>
      </dsp:txXfrm>
    </dsp:sp>
    <dsp:sp modelId="{AC514612-8832-4B0F-86D0-3200CCE54AE0}">
      <dsp:nvSpPr>
        <dsp:cNvPr id="0" name=""/>
        <dsp:cNvSpPr/>
      </dsp:nvSpPr>
      <dsp:spPr>
        <a:xfrm>
          <a:off x="2588" y="23259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Zelfhulp</a:t>
          </a:r>
        </a:p>
      </dsp:txBody>
      <dsp:txXfrm>
        <a:off x="462456" y="2325913"/>
        <a:ext cx="1016448" cy="919736"/>
      </dsp:txXfrm>
    </dsp:sp>
    <dsp:sp modelId="{F6BDEFCB-7EF5-4C67-9CC3-C8A5F8837BEC}">
      <dsp:nvSpPr>
        <dsp:cNvPr id="0" name=""/>
        <dsp:cNvSpPr/>
      </dsp:nvSpPr>
      <dsp:spPr>
        <a:xfrm>
          <a:off x="1639858" y="23273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Arial" panose="020B0604020202020204" pitchFamily="34" charset="0"/>
            <a:buNone/>
          </a:pPr>
          <a:r>
            <a:rPr lang="nl-NL" sz="900" kern="1200"/>
            <a:t>Opties voor zelfhulp binnen portalen uitzoeken</a:t>
          </a:r>
        </a:p>
      </dsp:txBody>
      <dsp:txXfrm>
        <a:off x="2098250" y="2327390"/>
        <a:ext cx="1371052" cy="916783"/>
      </dsp:txXfrm>
    </dsp:sp>
    <dsp:sp modelId="{58186B43-07B2-485C-BAFC-A38A2D2CA252}">
      <dsp:nvSpPr>
        <dsp:cNvPr id="0" name=""/>
        <dsp:cNvSpPr/>
      </dsp:nvSpPr>
      <dsp:spPr>
        <a:xfrm>
          <a:off x="3660510"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ClrTx/>
            <a:buSzTx/>
            <a:buFont typeface="Arial" panose="020B0604020202020204" pitchFamily="34" charset="0"/>
            <a:buChar char="•"/>
          </a:pPr>
          <a:r>
            <a:rPr lang="nl-NL" sz="900" kern="1200"/>
            <a:t>Mogelijkheden </a:t>
          </a:r>
          <a:r>
            <a:rPr lang="nl-NL" sz="900" kern="1200" err="1"/>
            <a:t>chatbot</a:t>
          </a:r>
          <a:r>
            <a:rPr lang="nl-NL" sz="900" kern="1200"/>
            <a:t> o.i.d. onderzoeken</a:t>
          </a:r>
          <a:endParaRPr lang="nl-NL" sz="900" kern="1200">
            <a:solidFill>
              <a:srgbClr val="C00000"/>
            </a:solidFill>
          </a:endParaRPr>
        </a:p>
      </dsp:txBody>
      <dsp:txXfrm>
        <a:off x="4118905" y="2327386"/>
        <a:ext cx="1371045" cy="916790"/>
      </dsp:txXfrm>
    </dsp:sp>
    <dsp:sp modelId="{0147A711-EAE7-444C-88B2-0E0CB88E6274}">
      <dsp:nvSpPr>
        <dsp:cNvPr id="0" name=""/>
        <dsp:cNvSpPr/>
      </dsp:nvSpPr>
      <dsp:spPr>
        <a:xfrm>
          <a:off x="5681162"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Zelfselectie rechtshulppakketten inrichten</a:t>
          </a:r>
        </a:p>
      </dsp:txBody>
      <dsp:txXfrm>
        <a:off x="6139557" y="2327386"/>
        <a:ext cx="1371045" cy="916790"/>
      </dsp:txXfrm>
    </dsp:sp>
    <dsp:sp modelId="{9FA528D7-26AC-4E04-B14F-E0155359DB2B}">
      <dsp:nvSpPr>
        <dsp:cNvPr id="0" name=""/>
        <dsp:cNvSpPr/>
      </dsp:nvSpPr>
      <dsp:spPr>
        <a:xfrm>
          <a:off x="7701814"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Burgerportaal uitbreiden en realiseren</a:t>
          </a:r>
        </a:p>
      </dsp:txBody>
      <dsp:txXfrm>
        <a:off x="8160209" y="2327386"/>
        <a:ext cx="1371045" cy="916790"/>
      </dsp:txXfrm>
    </dsp:sp>
    <dsp:sp modelId="{6E216FF8-2780-4ABE-969B-CDD8F6583DDC}">
      <dsp:nvSpPr>
        <dsp:cNvPr id="0" name=""/>
        <dsp:cNvSpPr/>
      </dsp:nvSpPr>
      <dsp:spPr>
        <a:xfrm>
          <a:off x="9722466"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2327386"/>
        <a:ext cx="1371045" cy="916790"/>
      </dsp:txXfrm>
    </dsp:sp>
    <dsp:sp modelId="{01295B02-5629-4790-BB4D-A7650C590746}">
      <dsp:nvSpPr>
        <dsp:cNvPr id="0" name=""/>
        <dsp:cNvSpPr/>
      </dsp:nvSpPr>
      <dsp:spPr>
        <a:xfrm>
          <a:off x="2588" y="33744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Infrastructuur</a:t>
          </a:r>
        </a:p>
      </dsp:txBody>
      <dsp:txXfrm>
        <a:off x="462456" y="3374413"/>
        <a:ext cx="1016448" cy="919736"/>
      </dsp:txXfrm>
    </dsp:sp>
    <dsp:sp modelId="{6EF753EC-17CD-46A6-81D5-6C737C6C4D8F}">
      <dsp:nvSpPr>
        <dsp:cNvPr id="0" name=""/>
        <dsp:cNvSpPr/>
      </dsp:nvSpPr>
      <dsp:spPr>
        <a:xfrm>
          <a:off x="1639858" y="33758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Cloudstrategie vastgesteld</a:t>
          </a:r>
        </a:p>
      </dsp:txBody>
      <dsp:txXfrm>
        <a:off x="2098250" y="3375890"/>
        <a:ext cx="1371052" cy="916783"/>
      </dsp:txXfrm>
    </dsp:sp>
    <dsp:sp modelId="{63D44174-705A-471D-8957-98F128C02313}">
      <dsp:nvSpPr>
        <dsp:cNvPr id="0" name=""/>
        <dsp:cNvSpPr/>
      </dsp:nvSpPr>
      <dsp:spPr>
        <a:xfrm>
          <a:off x="3660510"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Applicaties naar de </a:t>
          </a:r>
          <a:r>
            <a:rPr lang="nl-NL" sz="900" kern="1200" err="1"/>
            <a:t>cloud</a:t>
          </a:r>
          <a:r>
            <a:rPr lang="nl-NL" sz="900" kern="1200"/>
            <a:t> brengen</a:t>
          </a:r>
        </a:p>
      </dsp:txBody>
      <dsp:txXfrm>
        <a:off x="4118905" y="3375886"/>
        <a:ext cx="1371045" cy="916790"/>
      </dsp:txXfrm>
    </dsp:sp>
    <dsp:sp modelId="{A7989C51-1EF4-4500-81D6-6D719DDD68D0}">
      <dsp:nvSpPr>
        <dsp:cNvPr id="0" name=""/>
        <dsp:cNvSpPr/>
      </dsp:nvSpPr>
      <dsp:spPr>
        <a:xfrm>
          <a:off x="5681162"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Applicaties naar de </a:t>
          </a:r>
          <a:r>
            <a:rPr lang="nl-NL" sz="900" kern="1200" err="1"/>
            <a:t>cloud</a:t>
          </a:r>
          <a:r>
            <a:rPr lang="nl-NL" sz="900" kern="1200"/>
            <a:t> brengen</a:t>
          </a:r>
        </a:p>
      </dsp:txBody>
      <dsp:txXfrm>
        <a:off x="6139557" y="3375886"/>
        <a:ext cx="1371045" cy="916790"/>
      </dsp:txXfrm>
    </dsp:sp>
    <dsp:sp modelId="{A13861A0-3C4D-407A-AD33-595EDBF2F097}">
      <dsp:nvSpPr>
        <dsp:cNvPr id="0" name=""/>
        <dsp:cNvSpPr/>
      </dsp:nvSpPr>
      <dsp:spPr>
        <a:xfrm>
          <a:off x="7701814"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Applicaties naar de </a:t>
          </a:r>
          <a:r>
            <a:rPr lang="nl-NL" sz="900" kern="1200" err="1"/>
            <a:t>cloud</a:t>
          </a:r>
          <a:r>
            <a:rPr lang="nl-NL" sz="900" kern="1200"/>
            <a:t> brengen</a:t>
          </a:r>
        </a:p>
      </dsp:txBody>
      <dsp:txXfrm>
        <a:off x="8160209" y="3375886"/>
        <a:ext cx="1371045" cy="916790"/>
      </dsp:txXfrm>
    </dsp:sp>
    <dsp:sp modelId="{0EE2C3EC-54D5-48DD-BB5E-1E84B5C6767E}">
      <dsp:nvSpPr>
        <dsp:cNvPr id="0" name=""/>
        <dsp:cNvSpPr/>
      </dsp:nvSpPr>
      <dsp:spPr>
        <a:xfrm>
          <a:off x="9725055"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Cloudstrategie volledig gerealiseerd</a:t>
          </a:r>
        </a:p>
      </dsp:txBody>
      <dsp:txXfrm>
        <a:off x="10183450" y="3375886"/>
        <a:ext cx="1371045" cy="916790"/>
      </dsp:txXfrm>
    </dsp:sp>
    <dsp:sp modelId="{369C16FF-CB50-4D98-9172-0EA7B2F7C0E9}">
      <dsp:nvSpPr>
        <dsp:cNvPr id="0" name=""/>
        <dsp:cNvSpPr/>
      </dsp:nvSpPr>
      <dsp:spPr>
        <a:xfrm>
          <a:off x="2588" y="44229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Werkplek-beheer</a:t>
          </a:r>
        </a:p>
      </dsp:txBody>
      <dsp:txXfrm>
        <a:off x="462456" y="4422913"/>
        <a:ext cx="1016448" cy="919736"/>
      </dsp:txXfrm>
    </dsp:sp>
    <dsp:sp modelId="{F9B40E24-8054-4554-8AF6-D6B681E13EA0}">
      <dsp:nvSpPr>
        <dsp:cNvPr id="0" name=""/>
        <dsp:cNvSpPr/>
      </dsp:nvSpPr>
      <dsp:spPr>
        <a:xfrm>
          <a:off x="1639858" y="44243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Telefonie opnieuw aanbesteden en inrichten</a:t>
          </a:r>
        </a:p>
        <a:p>
          <a:pPr lvl="0" algn="ctr" defTabSz="400050">
            <a:lnSpc>
              <a:spcPct val="90000"/>
            </a:lnSpc>
            <a:spcBef>
              <a:spcPct val="0"/>
            </a:spcBef>
            <a:spcAft>
              <a:spcPct val="35000"/>
            </a:spcAft>
          </a:pPr>
          <a:r>
            <a:rPr lang="nl-NL" sz="900" kern="1200"/>
            <a:t>MDM opstarten en inrichten</a:t>
          </a:r>
        </a:p>
        <a:p>
          <a:pPr lvl="0" algn="ctr" defTabSz="400050">
            <a:lnSpc>
              <a:spcPct val="90000"/>
            </a:lnSpc>
            <a:spcBef>
              <a:spcPct val="0"/>
            </a:spcBef>
            <a:spcAft>
              <a:spcPct val="35000"/>
            </a:spcAft>
          </a:pPr>
          <a:r>
            <a:rPr lang="nl-NL" sz="900" kern="1200"/>
            <a:t>Start visie op ‘werkplek van de toekomst’</a:t>
          </a:r>
        </a:p>
      </dsp:txBody>
      <dsp:txXfrm>
        <a:off x="2098250" y="4424390"/>
        <a:ext cx="1371052" cy="916783"/>
      </dsp:txXfrm>
    </dsp:sp>
    <dsp:sp modelId="{F7823181-D95C-4548-8D31-3B61A998A8F3}">
      <dsp:nvSpPr>
        <dsp:cNvPr id="0" name=""/>
        <dsp:cNvSpPr/>
      </dsp:nvSpPr>
      <dsp:spPr>
        <a:xfrm>
          <a:off x="3660510"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5715" rIns="0" bIns="5715" numCol="1" spcCol="1270" anchor="ctr" anchorCtr="0">
          <a:noAutofit/>
        </a:bodyPr>
        <a:lstStyle/>
        <a:p>
          <a:pPr lvl="0" algn="ctr" defTabSz="400050">
            <a:lnSpc>
              <a:spcPct val="90000"/>
            </a:lnSpc>
            <a:spcBef>
              <a:spcPct val="0"/>
            </a:spcBef>
            <a:spcAft>
              <a:spcPts val="600"/>
            </a:spcAft>
          </a:pPr>
          <a:r>
            <a:rPr lang="nl-NL" sz="900" kern="1200"/>
            <a:t>Implementatie nieuwe telefonieleverancier</a:t>
          </a:r>
        </a:p>
        <a:p>
          <a:pPr lvl="0" algn="ctr" defTabSz="400050">
            <a:lnSpc>
              <a:spcPct val="90000"/>
            </a:lnSpc>
            <a:spcBef>
              <a:spcPct val="0"/>
            </a:spcBef>
            <a:spcAft>
              <a:spcPts val="600"/>
            </a:spcAft>
          </a:pPr>
          <a:r>
            <a:rPr lang="nl-NL" sz="900" kern="1200"/>
            <a:t>Visie ‘Werkplek van de toekomst’ rond</a:t>
          </a:r>
        </a:p>
      </dsp:txBody>
      <dsp:txXfrm>
        <a:off x="4118905" y="4424386"/>
        <a:ext cx="1371045" cy="916790"/>
      </dsp:txXfrm>
    </dsp:sp>
    <dsp:sp modelId="{54E5B12B-5A5F-4DFD-A255-6C8C32526395}">
      <dsp:nvSpPr>
        <dsp:cNvPr id="0" name=""/>
        <dsp:cNvSpPr/>
      </dsp:nvSpPr>
      <dsp:spPr>
        <a:xfrm>
          <a:off x="5681162"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Werkplek van de toekomst implementeren</a:t>
          </a:r>
        </a:p>
      </dsp:txBody>
      <dsp:txXfrm>
        <a:off x="6139557" y="4424386"/>
        <a:ext cx="1371045" cy="916790"/>
      </dsp:txXfrm>
    </dsp:sp>
    <dsp:sp modelId="{9D541BD9-D6A2-43C7-B91C-2D697E81376F}">
      <dsp:nvSpPr>
        <dsp:cNvPr id="0" name=""/>
        <dsp:cNvSpPr/>
      </dsp:nvSpPr>
      <dsp:spPr>
        <a:xfrm>
          <a:off x="7701814"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Werkplek van de toekomst implementeren</a:t>
          </a:r>
        </a:p>
      </dsp:txBody>
      <dsp:txXfrm>
        <a:off x="8160209" y="4424386"/>
        <a:ext cx="1371045" cy="916790"/>
      </dsp:txXfrm>
    </dsp:sp>
    <dsp:sp modelId="{267F98CF-3B0B-4374-BA95-4747FC32EBB6}">
      <dsp:nvSpPr>
        <dsp:cNvPr id="0" name=""/>
        <dsp:cNvSpPr/>
      </dsp:nvSpPr>
      <dsp:spPr>
        <a:xfrm>
          <a:off x="9722466"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Werkplek van de toekomst implementeren</a:t>
          </a:r>
        </a:p>
      </dsp:txBody>
      <dsp:txXfrm>
        <a:off x="10180861" y="4424386"/>
        <a:ext cx="1371045" cy="91679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04653-AC57-46CE-A503-3CBBAD1D7D39}">
      <dsp:nvSpPr>
        <dsp:cNvPr id="0" name=""/>
        <dsp:cNvSpPr/>
      </dsp:nvSpPr>
      <dsp:spPr>
        <a:xfrm>
          <a:off x="2588" y="235381"/>
          <a:ext cx="1936184" cy="91973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Data-allianties</a:t>
          </a:r>
        </a:p>
      </dsp:txBody>
      <dsp:txXfrm>
        <a:off x="462456" y="235381"/>
        <a:ext cx="1016448" cy="919736"/>
      </dsp:txXfrm>
    </dsp:sp>
    <dsp:sp modelId="{9E6C8AC0-5D21-43F3-83C4-CC1B7203E690}">
      <dsp:nvSpPr>
        <dsp:cNvPr id="0" name=""/>
        <dsp:cNvSpPr/>
      </dsp:nvSpPr>
      <dsp:spPr>
        <a:xfrm>
          <a:off x="1639858" y="236858"/>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Tx/>
            <a:buNone/>
          </a:pPr>
          <a:r>
            <a:rPr lang="nl-NL" sz="900" kern="1200" dirty="0"/>
            <a:t>Voorwaarden opstellen voor data-allianties</a:t>
          </a:r>
        </a:p>
        <a:p>
          <a:pPr lvl="0" algn="ctr" defTabSz="400050">
            <a:lnSpc>
              <a:spcPct val="90000"/>
            </a:lnSpc>
            <a:spcBef>
              <a:spcPct val="0"/>
            </a:spcBef>
            <a:spcAft>
              <a:spcPct val="35000"/>
            </a:spcAft>
            <a:buFontTx/>
            <a:buNone/>
          </a:pPr>
          <a:r>
            <a:rPr lang="nl-NL" sz="900" kern="1200" dirty="0">
              <a:solidFill>
                <a:schemeClr val="tx1"/>
              </a:solidFill>
            </a:rPr>
            <a:t>Datastrategie afspreken met ketenpartners</a:t>
          </a:r>
        </a:p>
        <a:p>
          <a:pPr lvl="0" algn="ctr" defTabSz="400050">
            <a:lnSpc>
              <a:spcPct val="90000"/>
            </a:lnSpc>
            <a:spcBef>
              <a:spcPct val="0"/>
            </a:spcBef>
            <a:spcAft>
              <a:spcPct val="35000"/>
            </a:spcAft>
            <a:buFontTx/>
            <a:buNone/>
          </a:pPr>
          <a:r>
            <a:rPr lang="nl-NL" sz="900" kern="1200" dirty="0">
              <a:solidFill>
                <a:schemeClr val="tx1"/>
              </a:solidFill>
            </a:rPr>
            <a:t>Pilots data-allianties</a:t>
          </a:r>
        </a:p>
      </dsp:txBody>
      <dsp:txXfrm>
        <a:off x="2098250" y="236858"/>
        <a:ext cx="1371052" cy="916783"/>
      </dsp:txXfrm>
    </dsp:sp>
    <dsp:sp modelId="{5F155100-7715-4A17-90EE-690DB2345E60}">
      <dsp:nvSpPr>
        <dsp:cNvPr id="0" name=""/>
        <dsp:cNvSpPr/>
      </dsp:nvSpPr>
      <dsp:spPr>
        <a:xfrm>
          <a:off x="3660510" y="236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Font typeface="+mj-lt"/>
            <a:buAutoNum type="alphaLcParenR" startAt="3"/>
          </a:pPr>
          <a:r>
            <a:rPr lang="nl-NL" sz="900" kern="1200"/>
            <a:t>Randvoorwaarden inrichten om data-allianties te realiseren</a:t>
          </a:r>
        </a:p>
        <a:p>
          <a:pPr lvl="0" algn="ctr" defTabSz="400050">
            <a:lnSpc>
              <a:spcPct val="90000"/>
            </a:lnSpc>
            <a:spcBef>
              <a:spcPct val="0"/>
            </a:spcBef>
            <a:spcAft>
              <a:spcPts val="600"/>
            </a:spcAft>
            <a:buClrTx/>
            <a:buSzTx/>
            <a:buFont typeface="Arial" panose="020B0604020202020204" pitchFamily="34" charset="0"/>
            <a:buChar char="•"/>
          </a:pPr>
          <a:r>
            <a:rPr lang="nl-NL" sz="900" kern="1200"/>
            <a:t>Eerste data-alliantie(s) in werking brengen</a:t>
          </a:r>
          <a:endParaRPr lang="nl-NL" sz="900" kern="1200">
            <a:solidFill>
              <a:schemeClr val="tx1"/>
            </a:solidFill>
          </a:endParaRPr>
        </a:p>
      </dsp:txBody>
      <dsp:txXfrm>
        <a:off x="4118905" y="236854"/>
        <a:ext cx="1371045" cy="916790"/>
      </dsp:txXfrm>
    </dsp:sp>
    <dsp:sp modelId="{7BCA09AF-73D2-4619-A7A7-F58A620080A0}">
      <dsp:nvSpPr>
        <dsp:cNvPr id="0" name=""/>
        <dsp:cNvSpPr/>
      </dsp:nvSpPr>
      <dsp:spPr>
        <a:xfrm>
          <a:off x="5681162" y="236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6139557" y="236854"/>
        <a:ext cx="1371045" cy="916790"/>
      </dsp:txXfrm>
    </dsp:sp>
    <dsp:sp modelId="{6F58A52D-AFF9-49F5-8538-1AB9A54C1571}">
      <dsp:nvSpPr>
        <dsp:cNvPr id="0" name=""/>
        <dsp:cNvSpPr/>
      </dsp:nvSpPr>
      <dsp:spPr>
        <a:xfrm>
          <a:off x="7701814" y="236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olwassenheid: in staat om flexibel op en af te schalen en aan of af te sluiten</a:t>
          </a:r>
        </a:p>
      </dsp:txBody>
      <dsp:txXfrm>
        <a:off x="8160209" y="236854"/>
        <a:ext cx="1371045" cy="916790"/>
      </dsp:txXfrm>
    </dsp:sp>
    <dsp:sp modelId="{9DA68F1C-8A13-4764-9EED-8C5C1AC113E6}">
      <dsp:nvSpPr>
        <dsp:cNvPr id="0" name=""/>
        <dsp:cNvSpPr/>
      </dsp:nvSpPr>
      <dsp:spPr>
        <a:xfrm>
          <a:off x="9722466" y="236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236854"/>
        <a:ext cx="1371045" cy="916790"/>
      </dsp:txXfrm>
    </dsp:sp>
    <dsp:sp modelId="{45A1425D-2946-43E1-B1EC-77043B192449}">
      <dsp:nvSpPr>
        <dsp:cNvPr id="0" name=""/>
        <dsp:cNvSpPr/>
      </dsp:nvSpPr>
      <dsp:spPr>
        <a:xfrm>
          <a:off x="2588" y="1283881"/>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Onbetwistbare data</a:t>
          </a:r>
        </a:p>
      </dsp:txBody>
      <dsp:txXfrm>
        <a:off x="462456" y="1283881"/>
        <a:ext cx="1016448" cy="919736"/>
      </dsp:txXfrm>
    </dsp:sp>
    <dsp:sp modelId="{050DB05E-783F-4CCF-9747-F95A7E32D478}">
      <dsp:nvSpPr>
        <dsp:cNvPr id="0" name=""/>
        <dsp:cNvSpPr/>
      </dsp:nvSpPr>
      <dsp:spPr>
        <a:xfrm>
          <a:off x="1639858" y="1285358"/>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ClrTx/>
            <a:buSzTx/>
            <a:buFont typeface="+mj-lt"/>
            <a:buAutoNum type="alphaLcParenR"/>
          </a:pPr>
          <a:r>
            <a:rPr lang="nl-NL" sz="900" kern="1200"/>
            <a:t>Kwaliteitscriteria nieuwe data vaststellen</a:t>
          </a:r>
        </a:p>
        <a:p>
          <a:pPr lvl="0" algn="ctr" defTabSz="400050">
            <a:lnSpc>
              <a:spcPct val="90000"/>
            </a:lnSpc>
            <a:spcBef>
              <a:spcPct val="0"/>
            </a:spcBef>
            <a:spcAft>
              <a:spcPts val="600"/>
            </a:spcAft>
            <a:buFont typeface="Arial" panose="020B0604020202020204" pitchFamily="34" charset="0"/>
            <a:buChar char="•"/>
          </a:pPr>
          <a:r>
            <a:rPr lang="nl-NL" sz="900" kern="1200"/>
            <a:t>Zicht krijgen op betrouwbaarheid historische data</a:t>
          </a:r>
        </a:p>
      </dsp:txBody>
      <dsp:txXfrm>
        <a:off x="2098250" y="1285358"/>
        <a:ext cx="1371052" cy="916783"/>
      </dsp:txXfrm>
    </dsp:sp>
    <dsp:sp modelId="{EE523708-1E1B-4AAA-A918-8F0DB46124F9}">
      <dsp:nvSpPr>
        <dsp:cNvPr id="0" name=""/>
        <dsp:cNvSpPr/>
      </dsp:nvSpPr>
      <dsp:spPr>
        <a:xfrm>
          <a:off x="3660510" y="1285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mj-lt"/>
            <a:buAutoNum type="alphaLcParenR" startAt="2"/>
          </a:pPr>
          <a:r>
            <a:rPr lang="nl-NL" sz="900" kern="1200"/>
            <a:t>Betrouwbaarheid historische data verbeteren</a:t>
          </a:r>
          <a:endParaRPr lang="nl-NL" sz="900" kern="1200">
            <a:solidFill>
              <a:srgbClr val="C00000"/>
            </a:solidFill>
          </a:endParaRPr>
        </a:p>
      </dsp:txBody>
      <dsp:txXfrm>
        <a:off x="4118905" y="1285354"/>
        <a:ext cx="1371045" cy="916790"/>
      </dsp:txXfrm>
    </dsp:sp>
    <dsp:sp modelId="{87B307EE-F7E3-478C-99DF-363D7920F82C}">
      <dsp:nvSpPr>
        <dsp:cNvPr id="0" name=""/>
        <dsp:cNvSpPr/>
      </dsp:nvSpPr>
      <dsp:spPr>
        <a:xfrm>
          <a:off x="5681162" y="1285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Nieuwe data’ is voor 99% betrouwbaar en de 1% onbetrouwbaar is bekend.</a:t>
          </a:r>
        </a:p>
      </dsp:txBody>
      <dsp:txXfrm>
        <a:off x="6139557" y="1285354"/>
        <a:ext cx="1371045" cy="916790"/>
      </dsp:txXfrm>
    </dsp:sp>
    <dsp:sp modelId="{CED8139D-1618-489C-91A6-6B435D2A051E}">
      <dsp:nvSpPr>
        <dsp:cNvPr id="0" name=""/>
        <dsp:cNvSpPr/>
      </dsp:nvSpPr>
      <dsp:spPr>
        <a:xfrm>
          <a:off x="7701814" y="1285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160209" y="1285354"/>
        <a:ext cx="1371045" cy="916790"/>
      </dsp:txXfrm>
    </dsp:sp>
    <dsp:sp modelId="{76A59E32-1369-43F3-BA20-12EAEE339E49}">
      <dsp:nvSpPr>
        <dsp:cNvPr id="0" name=""/>
        <dsp:cNvSpPr/>
      </dsp:nvSpPr>
      <dsp:spPr>
        <a:xfrm>
          <a:off x="9722466" y="1285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1285354"/>
        <a:ext cx="1371045" cy="916790"/>
      </dsp:txXfrm>
    </dsp:sp>
    <dsp:sp modelId="{AC514612-8832-4B0F-86D0-3200CCE54AE0}">
      <dsp:nvSpPr>
        <dsp:cNvPr id="0" name=""/>
        <dsp:cNvSpPr/>
      </dsp:nvSpPr>
      <dsp:spPr>
        <a:xfrm>
          <a:off x="2588" y="2332381"/>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Data </a:t>
          </a:r>
          <a:r>
            <a:rPr lang="nl-NL" sz="1000" kern="1200" err="1">
              <a:solidFill>
                <a:schemeClr val="bg1"/>
              </a:solidFill>
            </a:rPr>
            <a:t>warehousing</a:t>
          </a:r>
          <a:endParaRPr lang="nl-NL" sz="1000" kern="1200">
            <a:solidFill>
              <a:schemeClr val="bg1"/>
            </a:solidFill>
          </a:endParaRPr>
        </a:p>
      </dsp:txBody>
      <dsp:txXfrm>
        <a:off x="462456" y="2332381"/>
        <a:ext cx="1016448" cy="919736"/>
      </dsp:txXfrm>
    </dsp:sp>
    <dsp:sp modelId="{F6BDEFCB-7EF5-4C67-9CC3-C8A5F8837BEC}">
      <dsp:nvSpPr>
        <dsp:cNvPr id="0" name=""/>
        <dsp:cNvSpPr/>
      </dsp:nvSpPr>
      <dsp:spPr>
        <a:xfrm>
          <a:off x="1639858" y="2333858"/>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Arial" panose="020B0604020202020204" pitchFamily="34" charset="0"/>
            <a:buChar char="•"/>
          </a:pPr>
          <a:r>
            <a:rPr lang="nl-NL" sz="900" kern="1200"/>
            <a:t>Data-architectuur vaststellen</a:t>
          </a:r>
        </a:p>
      </dsp:txBody>
      <dsp:txXfrm>
        <a:off x="2098250" y="2333858"/>
        <a:ext cx="1371052" cy="916783"/>
      </dsp:txXfrm>
    </dsp:sp>
    <dsp:sp modelId="{58186B43-07B2-485C-BAFC-A38A2D2CA252}">
      <dsp:nvSpPr>
        <dsp:cNvPr id="0" name=""/>
        <dsp:cNvSpPr/>
      </dsp:nvSpPr>
      <dsp:spPr>
        <a:xfrm>
          <a:off x="3660510" y="2333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ClrTx/>
            <a:buSzTx/>
            <a:buFont typeface="Arial" panose="020B0604020202020204" pitchFamily="34" charset="0"/>
            <a:buChar char="•"/>
          </a:pPr>
          <a:r>
            <a:rPr lang="nl-NL" sz="900" kern="1200"/>
            <a:t>Datawarehouse-manager in stelling brengen</a:t>
          </a:r>
        </a:p>
        <a:p>
          <a:pPr lvl="0" algn="ctr" defTabSz="400050">
            <a:lnSpc>
              <a:spcPct val="90000"/>
            </a:lnSpc>
            <a:spcBef>
              <a:spcPct val="0"/>
            </a:spcBef>
            <a:spcAft>
              <a:spcPts val="600"/>
            </a:spcAft>
            <a:buFont typeface="Arial" panose="020B0604020202020204" pitchFamily="34" charset="0"/>
            <a:buChar char="•"/>
          </a:pPr>
          <a:r>
            <a:rPr lang="nl-NL" sz="900" kern="1200"/>
            <a:t>Datawarehouse inrichten</a:t>
          </a:r>
          <a:endParaRPr lang="nl-NL" sz="900" kern="1200">
            <a:solidFill>
              <a:srgbClr val="C00000"/>
            </a:solidFill>
          </a:endParaRPr>
        </a:p>
      </dsp:txBody>
      <dsp:txXfrm>
        <a:off x="4118905" y="2333854"/>
        <a:ext cx="1371045" cy="916790"/>
      </dsp:txXfrm>
    </dsp:sp>
    <dsp:sp modelId="{0147A711-EAE7-444C-88B2-0E0CB88E6274}">
      <dsp:nvSpPr>
        <dsp:cNvPr id="0" name=""/>
        <dsp:cNvSpPr/>
      </dsp:nvSpPr>
      <dsp:spPr>
        <a:xfrm>
          <a:off x="5681162" y="2333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6139557" y="2333854"/>
        <a:ext cx="1371045" cy="916790"/>
      </dsp:txXfrm>
    </dsp:sp>
    <dsp:sp modelId="{9FA528D7-26AC-4E04-B14F-E0155359DB2B}">
      <dsp:nvSpPr>
        <dsp:cNvPr id="0" name=""/>
        <dsp:cNvSpPr/>
      </dsp:nvSpPr>
      <dsp:spPr>
        <a:xfrm>
          <a:off x="7701814" y="2333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Datavirtualisatie implementeren</a:t>
          </a:r>
        </a:p>
      </dsp:txBody>
      <dsp:txXfrm>
        <a:off x="8160209" y="2333854"/>
        <a:ext cx="1371045" cy="916790"/>
      </dsp:txXfrm>
    </dsp:sp>
    <dsp:sp modelId="{6E216FF8-2780-4ABE-969B-CDD8F6583DDC}">
      <dsp:nvSpPr>
        <dsp:cNvPr id="0" name=""/>
        <dsp:cNvSpPr/>
      </dsp:nvSpPr>
      <dsp:spPr>
        <a:xfrm>
          <a:off x="9722466" y="23338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Data </a:t>
          </a:r>
          <a:r>
            <a:rPr lang="nl-NL" sz="900" kern="1200" err="1"/>
            <a:t>lake</a:t>
          </a:r>
          <a:r>
            <a:rPr lang="nl-NL" sz="900" kern="1200"/>
            <a:t> implementeren</a:t>
          </a:r>
        </a:p>
      </dsp:txBody>
      <dsp:txXfrm>
        <a:off x="10180861" y="2333854"/>
        <a:ext cx="1371045" cy="916790"/>
      </dsp:txXfrm>
    </dsp:sp>
    <dsp:sp modelId="{01295B02-5629-4790-BB4D-A7650C590746}">
      <dsp:nvSpPr>
        <dsp:cNvPr id="0" name=""/>
        <dsp:cNvSpPr/>
      </dsp:nvSpPr>
      <dsp:spPr>
        <a:xfrm>
          <a:off x="2588" y="3380881"/>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Data </a:t>
          </a:r>
          <a:r>
            <a:rPr lang="nl-NL" sz="1000" kern="1200" err="1">
              <a:solidFill>
                <a:schemeClr val="bg1"/>
              </a:solidFill>
            </a:rPr>
            <a:t>analytics</a:t>
          </a:r>
          <a:r>
            <a:rPr lang="nl-NL" sz="1000" kern="1200">
              <a:solidFill>
                <a:schemeClr val="bg1"/>
              </a:solidFill>
            </a:rPr>
            <a:t> &amp; </a:t>
          </a:r>
          <a:r>
            <a:rPr lang="nl-NL" sz="1000" kern="1200" err="1">
              <a:solidFill>
                <a:schemeClr val="bg1"/>
              </a:solidFill>
            </a:rPr>
            <a:t>science</a:t>
          </a:r>
          <a:endParaRPr lang="nl-NL" sz="1000" kern="1200">
            <a:solidFill>
              <a:schemeClr val="bg1"/>
            </a:solidFill>
          </a:endParaRPr>
        </a:p>
      </dsp:txBody>
      <dsp:txXfrm>
        <a:off x="462456" y="3380881"/>
        <a:ext cx="1016448" cy="919736"/>
      </dsp:txXfrm>
    </dsp:sp>
    <dsp:sp modelId="{6EF753EC-17CD-46A6-81D5-6C737C6C4D8F}">
      <dsp:nvSpPr>
        <dsp:cNvPr id="0" name=""/>
        <dsp:cNvSpPr/>
      </dsp:nvSpPr>
      <dsp:spPr>
        <a:xfrm>
          <a:off x="1639858" y="3382358"/>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isie op data bepalen</a:t>
          </a:r>
        </a:p>
        <a:p>
          <a:pPr lvl="0" algn="ctr" defTabSz="400050">
            <a:lnSpc>
              <a:spcPct val="90000"/>
            </a:lnSpc>
            <a:spcBef>
              <a:spcPct val="0"/>
            </a:spcBef>
            <a:spcAft>
              <a:spcPct val="35000"/>
            </a:spcAft>
          </a:pPr>
          <a:r>
            <a:rPr lang="nl-NL" sz="900" kern="1200"/>
            <a:t>Power BI inrichten</a:t>
          </a:r>
        </a:p>
        <a:p>
          <a:pPr lvl="0" algn="ctr" defTabSz="400050">
            <a:lnSpc>
              <a:spcPct val="90000"/>
            </a:lnSpc>
            <a:spcBef>
              <a:spcPct val="0"/>
            </a:spcBef>
            <a:spcAft>
              <a:spcPct val="35000"/>
            </a:spcAft>
          </a:pPr>
          <a:r>
            <a:rPr lang="nl-NL" sz="900" kern="1200"/>
            <a:t>Tweede data scientist aannemen</a:t>
          </a:r>
        </a:p>
      </dsp:txBody>
      <dsp:txXfrm>
        <a:off x="2098250" y="3382358"/>
        <a:ext cx="1371052" cy="916783"/>
      </dsp:txXfrm>
    </dsp:sp>
    <dsp:sp modelId="{63D44174-705A-471D-8957-98F128C02313}">
      <dsp:nvSpPr>
        <dsp:cNvPr id="0" name=""/>
        <dsp:cNvSpPr/>
      </dsp:nvSpPr>
      <dsp:spPr>
        <a:xfrm>
          <a:off x="3660510" y="3382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volgstappen op basis van visie op data</a:t>
          </a:r>
        </a:p>
      </dsp:txBody>
      <dsp:txXfrm>
        <a:off x="4118905" y="3382354"/>
        <a:ext cx="1371045" cy="916790"/>
      </dsp:txXfrm>
    </dsp:sp>
    <dsp:sp modelId="{A7989C51-1EF4-4500-81D6-6D719DDD68D0}">
      <dsp:nvSpPr>
        <dsp:cNvPr id="0" name=""/>
        <dsp:cNvSpPr/>
      </dsp:nvSpPr>
      <dsp:spPr>
        <a:xfrm>
          <a:off x="5681162" y="3382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volgstappen op basis van visie op data</a:t>
          </a:r>
        </a:p>
      </dsp:txBody>
      <dsp:txXfrm>
        <a:off x="6139557" y="3382354"/>
        <a:ext cx="1371045" cy="916790"/>
      </dsp:txXfrm>
    </dsp:sp>
    <dsp:sp modelId="{A13861A0-3C4D-407A-AD33-595EDBF2F097}">
      <dsp:nvSpPr>
        <dsp:cNvPr id="0" name=""/>
        <dsp:cNvSpPr/>
      </dsp:nvSpPr>
      <dsp:spPr>
        <a:xfrm>
          <a:off x="7701814" y="3382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volgstappen op basis van visie op data</a:t>
          </a:r>
        </a:p>
      </dsp:txBody>
      <dsp:txXfrm>
        <a:off x="8160209" y="3382354"/>
        <a:ext cx="1371045" cy="916790"/>
      </dsp:txXfrm>
    </dsp:sp>
    <dsp:sp modelId="{0EE2C3EC-54D5-48DD-BB5E-1E84B5C6767E}">
      <dsp:nvSpPr>
        <dsp:cNvPr id="0" name=""/>
        <dsp:cNvSpPr/>
      </dsp:nvSpPr>
      <dsp:spPr>
        <a:xfrm>
          <a:off x="9722466" y="3382354"/>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Process mining inzetten om processen te verbeteren</a:t>
          </a:r>
        </a:p>
      </dsp:txBody>
      <dsp:txXfrm>
        <a:off x="10180861" y="3382354"/>
        <a:ext cx="1371045" cy="91679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04653-AC57-46CE-A503-3CBBAD1D7D39}">
      <dsp:nvSpPr>
        <dsp:cNvPr id="0" name=""/>
        <dsp:cNvSpPr/>
      </dsp:nvSpPr>
      <dsp:spPr>
        <a:xfrm>
          <a:off x="0" y="653714"/>
          <a:ext cx="1936184" cy="719997"/>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a:solidFill>
                <a:schemeClr val="bg1"/>
              </a:solidFill>
            </a:rPr>
            <a:t>Architectuur</a:t>
          </a:r>
        </a:p>
      </dsp:txBody>
      <dsp:txXfrm>
        <a:off x="359999" y="653714"/>
        <a:ext cx="1216187" cy="719997"/>
      </dsp:txXfrm>
    </dsp:sp>
    <dsp:sp modelId="{9E6C8AC0-5D21-43F3-83C4-CC1B7203E690}">
      <dsp:nvSpPr>
        <dsp:cNvPr id="0" name=""/>
        <dsp:cNvSpPr/>
      </dsp:nvSpPr>
      <dsp:spPr>
        <a:xfrm>
          <a:off x="1637269" y="653714"/>
          <a:ext cx="2287835" cy="719998"/>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marL="0" lvl="0" indent="0" algn="ctr" defTabSz="355600">
            <a:lnSpc>
              <a:spcPct val="90000"/>
            </a:lnSpc>
            <a:spcBef>
              <a:spcPct val="0"/>
            </a:spcBef>
            <a:spcAft>
              <a:spcPct val="35000"/>
            </a:spcAft>
            <a:buFont typeface="+mj-lt"/>
            <a:buNone/>
          </a:pPr>
          <a:r>
            <a:rPr lang="nl-NL" sz="800" kern="1200" dirty="0" smtClean="0"/>
            <a:t>Interne capaciteit architecten op orde</a:t>
          </a:r>
        </a:p>
        <a:p>
          <a:pPr marL="0" lvl="0" indent="0" algn="ctr" defTabSz="355600">
            <a:lnSpc>
              <a:spcPct val="90000"/>
            </a:lnSpc>
            <a:spcBef>
              <a:spcPct val="0"/>
            </a:spcBef>
            <a:spcAft>
              <a:spcPct val="35000"/>
            </a:spcAft>
            <a:buFont typeface="+mj-lt"/>
            <a:buNone/>
          </a:pPr>
          <a:r>
            <a:rPr lang="nl-NL" sz="800" kern="1200" dirty="0" smtClean="0">
              <a:solidFill>
                <a:schemeClr val="tx1"/>
              </a:solidFill>
            </a:rPr>
            <a:t>Architectuurbewustzijn gehele organisatie</a:t>
          </a:r>
        </a:p>
        <a:p>
          <a:pPr marL="0" lvl="0" indent="0" algn="ctr" defTabSz="355600">
            <a:lnSpc>
              <a:spcPct val="90000"/>
            </a:lnSpc>
            <a:spcBef>
              <a:spcPct val="0"/>
            </a:spcBef>
            <a:spcAft>
              <a:spcPct val="35000"/>
            </a:spcAft>
            <a:buFont typeface="+mj-lt"/>
            <a:buNone/>
          </a:pPr>
          <a:r>
            <a:rPr lang="nl-NL" sz="800" kern="1200" dirty="0" err="1" smtClean="0">
              <a:solidFill>
                <a:schemeClr val="tx1"/>
              </a:solidFill>
            </a:rPr>
            <a:t>Api</a:t>
          </a:r>
          <a:r>
            <a:rPr lang="nl-NL" sz="800" kern="1200" dirty="0" smtClean="0">
              <a:solidFill>
                <a:schemeClr val="tx1"/>
              </a:solidFill>
            </a:rPr>
            <a:t>-beleid en Cloudstrategie</a:t>
          </a:r>
          <a:endParaRPr lang="nl-NL" sz="800" kern="1200" dirty="0">
            <a:solidFill>
              <a:schemeClr val="tx1"/>
            </a:solidFill>
          </a:endParaRPr>
        </a:p>
      </dsp:txBody>
      <dsp:txXfrm>
        <a:off x="1997268" y="653714"/>
        <a:ext cx="1567837" cy="719998"/>
      </dsp:txXfrm>
    </dsp:sp>
    <dsp:sp modelId="{5F155100-7715-4A17-90EE-690DB2345E60}">
      <dsp:nvSpPr>
        <dsp:cNvPr id="0" name=""/>
        <dsp:cNvSpPr/>
      </dsp:nvSpPr>
      <dsp:spPr>
        <a:xfrm>
          <a:off x="3657921" y="653714"/>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Font typeface="+mj-lt"/>
            <a:buNone/>
          </a:pPr>
          <a:r>
            <a:rPr lang="nl-NL" sz="900" kern="1200" dirty="0" smtClean="0">
              <a:solidFill>
                <a:schemeClr val="tx1"/>
              </a:solidFill>
            </a:rPr>
            <a:t>Alle Domein architecturen op orde</a:t>
          </a:r>
          <a:endParaRPr lang="nl-NL" sz="900" kern="1200" dirty="0">
            <a:solidFill>
              <a:schemeClr val="tx1"/>
            </a:solidFill>
          </a:endParaRPr>
        </a:p>
      </dsp:txBody>
      <dsp:txXfrm>
        <a:off x="4017920" y="653714"/>
        <a:ext cx="1567837" cy="719998"/>
      </dsp:txXfrm>
    </dsp:sp>
    <dsp:sp modelId="{C6C71CD6-3C52-4436-AED6-1475095E6966}">
      <dsp:nvSpPr>
        <dsp:cNvPr id="0" name=""/>
        <dsp:cNvSpPr/>
      </dsp:nvSpPr>
      <dsp:spPr>
        <a:xfrm>
          <a:off x="5678573" y="653714"/>
          <a:ext cx="2274438"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solidFill>
              <a:schemeClr val="tx1"/>
            </a:solidFill>
          </a:endParaRPr>
        </a:p>
      </dsp:txBody>
      <dsp:txXfrm>
        <a:off x="6038572" y="653714"/>
        <a:ext cx="1554440" cy="719998"/>
      </dsp:txXfrm>
    </dsp:sp>
    <dsp:sp modelId="{6F58A52D-AFF9-49F5-8538-1AB9A54C1571}">
      <dsp:nvSpPr>
        <dsp:cNvPr id="0" name=""/>
        <dsp:cNvSpPr/>
      </dsp:nvSpPr>
      <dsp:spPr>
        <a:xfrm>
          <a:off x="7685828" y="653714"/>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045827" y="653714"/>
        <a:ext cx="1567837" cy="719998"/>
      </dsp:txXfrm>
    </dsp:sp>
    <dsp:sp modelId="{9DA68F1C-8A13-4764-9EED-8C5C1AC113E6}">
      <dsp:nvSpPr>
        <dsp:cNvPr id="0" name=""/>
        <dsp:cNvSpPr/>
      </dsp:nvSpPr>
      <dsp:spPr>
        <a:xfrm>
          <a:off x="9706480" y="653714"/>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066479" y="653714"/>
        <a:ext cx="1567837" cy="719998"/>
      </dsp:txXfrm>
    </dsp:sp>
    <dsp:sp modelId="{45A1425D-2946-43E1-B1EC-77043B192449}">
      <dsp:nvSpPr>
        <dsp:cNvPr id="0" name=""/>
        <dsp:cNvSpPr/>
      </dsp:nvSpPr>
      <dsp:spPr>
        <a:xfrm>
          <a:off x="0" y="1459322"/>
          <a:ext cx="1936184" cy="719997"/>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IBP</a:t>
          </a:r>
        </a:p>
      </dsp:txBody>
      <dsp:txXfrm>
        <a:off x="359999" y="1459322"/>
        <a:ext cx="1216187" cy="719997"/>
      </dsp:txXfrm>
    </dsp:sp>
    <dsp:sp modelId="{050DB05E-783F-4CCF-9747-F95A7E32D478}">
      <dsp:nvSpPr>
        <dsp:cNvPr id="0" name=""/>
        <dsp:cNvSpPr/>
      </dsp:nvSpPr>
      <dsp:spPr>
        <a:xfrm>
          <a:off x="1637269" y="1459322"/>
          <a:ext cx="2287835" cy="719998"/>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buClrTx/>
            <a:buSzTx/>
            <a:buFont typeface="+mj-lt"/>
            <a:buNone/>
          </a:pPr>
          <a:r>
            <a:rPr lang="nl-NL" sz="800" kern="1200" dirty="0" smtClean="0"/>
            <a:t>IBP geïntegreerd en geïmplementeerd</a:t>
          </a:r>
        </a:p>
        <a:p>
          <a:pPr lvl="0" algn="ctr" defTabSz="355600">
            <a:lnSpc>
              <a:spcPct val="90000"/>
            </a:lnSpc>
            <a:spcBef>
              <a:spcPct val="0"/>
            </a:spcBef>
            <a:spcAft>
              <a:spcPct val="35000"/>
            </a:spcAft>
            <a:buClrTx/>
            <a:buSzTx/>
            <a:buFont typeface="+mj-lt"/>
            <a:buNone/>
          </a:pPr>
          <a:r>
            <a:rPr lang="nl-NL" sz="800" kern="1200" dirty="0" smtClean="0"/>
            <a:t>Risicomanagement ingericht</a:t>
          </a:r>
        </a:p>
        <a:p>
          <a:pPr lvl="0" algn="ctr" defTabSz="355600">
            <a:lnSpc>
              <a:spcPct val="90000"/>
            </a:lnSpc>
            <a:spcBef>
              <a:spcPct val="0"/>
            </a:spcBef>
            <a:spcAft>
              <a:spcPct val="35000"/>
            </a:spcAft>
            <a:buClrTx/>
            <a:buSzTx/>
            <a:buFont typeface="+mj-lt"/>
            <a:buNone/>
          </a:pPr>
          <a:r>
            <a:rPr lang="nl-NL" sz="800" kern="1200" dirty="0" smtClean="0"/>
            <a:t>BCM plan en beleid</a:t>
          </a:r>
          <a:endParaRPr lang="nl-NL" sz="800" kern="1200" dirty="0"/>
        </a:p>
      </dsp:txBody>
      <dsp:txXfrm>
        <a:off x="1997268" y="1459322"/>
        <a:ext cx="1567837" cy="719998"/>
      </dsp:txXfrm>
    </dsp:sp>
    <dsp:sp modelId="{EE523708-1E1B-4AAA-A918-8F0DB46124F9}">
      <dsp:nvSpPr>
        <dsp:cNvPr id="0" name=""/>
        <dsp:cNvSpPr/>
      </dsp:nvSpPr>
      <dsp:spPr>
        <a:xfrm>
          <a:off x="3657921" y="1459322"/>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Font typeface="+mj-lt"/>
            <a:buNone/>
          </a:pPr>
          <a:r>
            <a:rPr lang="nl-NL" sz="900" kern="1200" dirty="0" smtClean="0"/>
            <a:t>BCM op orde en geïntegreerd</a:t>
          </a:r>
          <a:endParaRPr lang="nl-NL" sz="900" kern="1200" dirty="0">
            <a:solidFill>
              <a:srgbClr val="C00000"/>
            </a:solidFill>
          </a:endParaRPr>
        </a:p>
      </dsp:txBody>
      <dsp:txXfrm>
        <a:off x="4017920" y="1459322"/>
        <a:ext cx="1567837" cy="719998"/>
      </dsp:txXfrm>
    </dsp:sp>
    <dsp:sp modelId="{87B307EE-F7E3-478C-99DF-363D7920F82C}">
      <dsp:nvSpPr>
        <dsp:cNvPr id="0" name=""/>
        <dsp:cNvSpPr/>
      </dsp:nvSpPr>
      <dsp:spPr>
        <a:xfrm>
          <a:off x="5678573" y="1459322"/>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6038572" y="1459322"/>
        <a:ext cx="1567837" cy="719998"/>
      </dsp:txXfrm>
    </dsp:sp>
    <dsp:sp modelId="{CED8139D-1618-489C-91A6-6B435D2A051E}">
      <dsp:nvSpPr>
        <dsp:cNvPr id="0" name=""/>
        <dsp:cNvSpPr/>
      </dsp:nvSpPr>
      <dsp:spPr>
        <a:xfrm>
          <a:off x="7699225" y="1459322"/>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059224" y="1459322"/>
        <a:ext cx="1567837" cy="719998"/>
      </dsp:txXfrm>
    </dsp:sp>
    <dsp:sp modelId="{76A59E32-1369-43F3-BA20-12EAEE339E49}">
      <dsp:nvSpPr>
        <dsp:cNvPr id="0" name=""/>
        <dsp:cNvSpPr/>
      </dsp:nvSpPr>
      <dsp:spPr>
        <a:xfrm>
          <a:off x="9719877" y="1459322"/>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079876" y="1459322"/>
        <a:ext cx="1567837" cy="719998"/>
      </dsp:txXfrm>
    </dsp:sp>
    <dsp:sp modelId="{AC514612-8832-4B0F-86D0-3200CCE54AE0}">
      <dsp:nvSpPr>
        <dsp:cNvPr id="0" name=""/>
        <dsp:cNvSpPr/>
      </dsp:nvSpPr>
      <dsp:spPr>
        <a:xfrm>
          <a:off x="0" y="2271874"/>
          <a:ext cx="1936184" cy="719997"/>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Modernisering</a:t>
          </a:r>
        </a:p>
      </dsp:txBody>
      <dsp:txXfrm>
        <a:off x="359999" y="2271874"/>
        <a:ext cx="1216187" cy="719997"/>
      </dsp:txXfrm>
    </dsp:sp>
    <dsp:sp modelId="{F6BDEFCB-7EF5-4C67-9CC3-C8A5F8837BEC}">
      <dsp:nvSpPr>
        <dsp:cNvPr id="0" name=""/>
        <dsp:cNvSpPr/>
      </dsp:nvSpPr>
      <dsp:spPr>
        <a:xfrm>
          <a:off x="1634679" y="2271869"/>
          <a:ext cx="2287835" cy="719998"/>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buFont typeface="Arial" panose="020B0604020202020204" pitchFamily="34" charset="0"/>
            <a:buNone/>
          </a:pPr>
          <a:r>
            <a:rPr lang="nl-NL" sz="800" kern="1200" dirty="0" err="1" smtClean="0"/>
            <a:t>Quartz</a:t>
          </a:r>
          <a:r>
            <a:rPr lang="nl-NL" sz="800" kern="1200" dirty="0" smtClean="0"/>
            <a:t> Wbtv</a:t>
          </a:r>
        </a:p>
        <a:p>
          <a:pPr lvl="0" algn="ctr" defTabSz="355600">
            <a:lnSpc>
              <a:spcPct val="90000"/>
            </a:lnSpc>
            <a:spcBef>
              <a:spcPct val="0"/>
            </a:spcBef>
            <a:spcAft>
              <a:spcPts val="600"/>
            </a:spcAft>
            <a:buFont typeface="Arial" panose="020B0604020202020204" pitchFamily="34" charset="0"/>
            <a:buNone/>
          </a:pPr>
          <a:r>
            <a:rPr lang="nl-NL" sz="800" kern="1200" dirty="0" smtClean="0"/>
            <a:t>Websites </a:t>
          </a:r>
        </a:p>
        <a:p>
          <a:pPr lvl="0" algn="ctr" defTabSz="355600">
            <a:lnSpc>
              <a:spcPct val="90000"/>
            </a:lnSpc>
            <a:spcBef>
              <a:spcPct val="0"/>
            </a:spcBef>
            <a:spcAft>
              <a:spcPts val="600"/>
            </a:spcAft>
            <a:buFont typeface="Arial" panose="020B0604020202020204" pitchFamily="34" charset="0"/>
            <a:buNone/>
          </a:pPr>
          <a:r>
            <a:rPr lang="nl-NL" sz="800" kern="1200" dirty="0" smtClean="0"/>
            <a:t>Piketapplicatie</a:t>
          </a:r>
        </a:p>
        <a:p>
          <a:pPr lvl="0" algn="ctr" defTabSz="355600">
            <a:lnSpc>
              <a:spcPct val="90000"/>
            </a:lnSpc>
            <a:spcBef>
              <a:spcPct val="0"/>
            </a:spcBef>
            <a:spcAft>
              <a:spcPts val="600"/>
            </a:spcAft>
            <a:buFont typeface="Arial" panose="020B0604020202020204" pitchFamily="34" charset="0"/>
            <a:buNone/>
          </a:pPr>
          <a:r>
            <a:rPr lang="nl-NL" sz="800" kern="1200" dirty="0" smtClean="0"/>
            <a:t>Start RBV-portaal</a:t>
          </a:r>
          <a:endParaRPr lang="nl-NL" sz="800" kern="1200" dirty="0"/>
        </a:p>
      </dsp:txBody>
      <dsp:txXfrm>
        <a:off x="1994678" y="2271869"/>
        <a:ext cx="1567837" cy="719998"/>
      </dsp:txXfrm>
    </dsp:sp>
    <dsp:sp modelId="{58186B43-07B2-485C-BAFC-A38A2D2CA252}">
      <dsp:nvSpPr>
        <dsp:cNvPr id="0" name=""/>
        <dsp:cNvSpPr/>
      </dsp:nvSpPr>
      <dsp:spPr>
        <a:xfrm>
          <a:off x="3655332" y="2271869"/>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buClrTx/>
            <a:buSzTx/>
            <a:buFont typeface="Arial" panose="020B0604020202020204" pitchFamily="34" charset="0"/>
            <a:buNone/>
          </a:pPr>
          <a:r>
            <a:rPr lang="nl-NL" sz="800" kern="1200" dirty="0"/>
            <a:t>RBV-portaal </a:t>
          </a:r>
          <a:r>
            <a:rPr lang="nl-NL" sz="800" kern="1200" dirty="0" smtClean="0"/>
            <a:t>bouwen en Mijn RvR </a:t>
          </a:r>
          <a:r>
            <a:rPr lang="nl-NL" sz="800" kern="1200" dirty="0" err="1" smtClean="0"/>
            <a:t>uitfaseren</a:t>
          </a:r>
          <a:endParaRPr lang="nl-NL" sz="800" kern="1200" dirty="0" smtClean="0"/>
        </a:p>
        <a:p>
          <a:pPr lvl="0" algn="ctr" defTabSz="355600">
            <a:lnSpc>
              <a:spcPct val="90000"/>
            </a:lnSpc>
            <a:spcBef>
              <a:spcPct val="0"/>
            </a:spcBef>
            <a:spcAft>
              <a:spcPts val="600"/>
            </a:spcAft>
            <a:buClrTx/>
            <a:buSzTx/>
            <a:buFont typeface="Arial" panose="020B0604020202020204" pitchFamily="34" charset="0"/>
            <a:buNone/>
          </a:pPr>
          <a:r>
            <a:rPr lang="nl-NL" sz="800" kern="1200" dirty="0" err="1" smtClean="0"/>
            <a:t>Integratielaag</a:t>
          </a:r>
          <a:r>
            <a:rPr lang="nl-NL" sz="800" kern="1200" dirty="0" smtClean="0"/>
            <a:t> vv door Dell Boomi</a:t>
          </a:r>
        </a:p>
      </dsp:txBody>
      <dsp:txXfrm>
        <a:off x="4015331" y="2271869"/>
        <a:ext cx="1567837" cy="719998"/>
      </dsp:txXfrm>
    </dsp:sp>
    <dsp:sp modelId="{0147A711-EAE7-444C-88B2-0E0CB88E6274}">
      <dsp:nvSpPr>
        <dsp:cNvPr id="0" name=""/>
        <dsp:cNvSpPr/>
      </dsp:nvSpPr>
      <dsp:spPr>
        <a:xfrm>
          <a:off x="5675984" y="2271869"/>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pPr>
          <a:r>
            <a:rPr lang="nl-NL" sz="900" kern="1200" dirty="0" smtClean="0"/>
            <a:t>Oude </a:t>
          </a:r>
          <a:r>
            <a:rPr lang="nl-NL" sz="900" kern="1200" dirty="0" err="1"/>
            <a:t>integratielaag</a:t>
          </a:r>
          <a:r>
            <a:rPr lang="nl-NL" sz="900" kern="1200" dirty="0"/>
            <a:t> en brieventool </a:t>
          </a:r>
          <a:r>
            <a:rPr lang="nl-NL" sz="900" kern="1200" dirty="0" err="1" smtClean="0"/>
            <a:t>uitfaseren</a:t>
          </a:r>
          <a:endParaRPr lang="nl-NL" sz="900" kern="1200" dirty="0" smtClean="0"/>
        </a:p>
        <a:p>
          <a:pPr lvl="0" algn="ctr" defTabSz="400050">
            <a:lnSpc>
              <a:spcPct val="90000"/>
            </a:lnSpc>
            <a:spcBef>
              <a:spcPct val="0"/>
            </a:spcBef>
            <a:spcAft>
              <a:spcPts val="600"/>
            </a:spcAft>
          </a:pPr>
          <a:endParaRPr lang="nl-NL" sz="900" kern="1200" dirty="0"/>
        </a:p>
      </dsp:txBody>
      <dsp:txXfrm>
        <a:off x="6035983" y="2271869"/>
        <a:ext cx="1567837" cy="719998"/>
      </dsp:txXfrm>
    </dsp:sp>
    <dsp:sp modelId="{9FA528D7-26AC-4E04-B14F-E0155359DB2B}">
      <dsp:nvSpPr>
        <dsp:cNvPr id="0" name=""/>
        <dsp:cNvSpPr/>
      </dsp:nvSpPr>
      <dsp:spPr>
        <a:xfrm>
          <a:off x="7699225" y="2244708"/>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vangen maatwerk database- en workflow-applicatie (GRAS/Filenet)</a:t>
          </a:r>
        </a:p>
      </dsp:txBody>
      <dsp:txXfrm>
        <a:off x="8059224" y="2244708"/>
        <a:ext cx="1567837" cy="719998"/>
      </dsp:txXfrm>
    </dsp:sp>
    <dsp:sp modelId="{6E216FF8-2780-4ABE-969B-CDD8F6583DDC}">
      <dsp:nvSpPr>
        <dsp:cNvPr id="0" name=""/>
        <dsp:cNvSpPr/>
      </dsp:nvSpPr>
      <dsp:spPr>
        <a:xfrm>
          <a:off x="9719877" y="2244708"/>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vangen maatwerk database- en workflow-applicatie (GRAS/Filenet)</a:t>
          </a:r>
        </a:p>
      </dsp:txBody>
      <dsp:txXfrm>
        <a:off x="10079876" y="2244708"/>
        <a:ext cx="1567837" cy="719998"/>
      </dsp:txXfrm>
    </dsp:sp>
    <dsp:sp modelId="{01295B02-5629-4790-BB4D-A7650C590746}">
      <dsp:nvSpPr>
        <dsp:cNvPr id="0" name=""/>
        <dsp:cNvSpPr/>
      </dsp:nvSpPr>
      <dsp:spPr>
        <a:xfrm>
          <a:off x="0" y="3066316"/>
          <a:ext cx="1936184" cy="719997"/>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a:solidFill>
                <a:schemeClr val="bg1"/>
              </a:solidFill>
            </a:rPr>
            <a:t>Digitalisering</a:t>
          </a:r>
        </a:p>
      </dsp:txBody>
      <dsp:txXfrm>
        <a:off x="359999" y="3066316"/>
        <a:ext cx="1216187" cy="719997"/>
      </dsp:txXfrm>
    </dsp:sp>
    <dsp:sp modelId="{6EF753EC-17CD-46A6-81D5-6C737C6C4D8F}">
      <dsp:nvSpPr>
        <dsp:cNvPr id="0" name=""/>
        <dsp:cNvSpPr/>
      </dsp:nvSpPr>
      <dsp:spPr>
        <a:xfrm>
          <a:off x="1637269" y="3066309"/>
          <a:ext cx="2287835" cy="719998"/>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err="1" smtClean="0"/>
            <a:t>Mediation</a:t>
          </a:r>
          <a:r>
            <a:rPr lang="nl-NL" sz="900" kern="1200" dirty="0" smtClean="0"/>
            <a:t> Proces</a:t>
          </a:r>
          <a:endParaRPr lang="nl-NL" sz="900" kern="1200" dirty="0"/>
        </a:p>
      </dsp:txBody>
      <dsp:txXfrm>
        <a:off x="1997268" y="3066309"/>
        <a:ext cx="1567837" cy="719998"/>
      </dsp:txXfrm>
    </dsp:sp>
    <dsp:sp modelId="{63D44174-705A-471D-8957-98F128C02313}">
      <dsp:nvSpPr>
        <dsp:cNvPr id="0" name=""/>
        <dsp:cNvSpPr/>
      </dsp:nvSpPr>
      <dsp:spPr>
        <a:xfrm>
          <a:off x="3657921" y="3066309"/>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pPr>
          <a:r>
            <a:rPr lang="nl-NL" sz="800" kern="1200" dirty="0" smtClean="0"/>
            <a:t>Beroep- &amp; Bezwaarprocessen</a:t>
          </a:r>
        </a:p>
        <a:p>
          <a:pPr lvl="0" algn="ctr" defTabSz="355600">
            <a:lnSpc>
              <a:spcPct val="90000"/>
            </a:lnSpc>
            <a:spcBef>
              <a:spcPct val="0"/>
            </a:spcBef>
            <a:spcAft>
              <a:spcPts val="600"/>
            </a:spcAft>
          </a:pPr>
          <a:r>
            <a:rPr lang="nl-NL" sz="800" kern="1200" dirty="0" smtClean="0"/>
            <a:t>Proces </a:t>
          </a:r>
          <a:r>
            <a:rPr lang="nl-NL" sz="800" kern="1200" dirty="0"/>
            <a:t>asielaanvragen</a:t>
          </a:r>
        </a:p>
        <a:p>
          <a:pPr lvl="0" algn="ctr" defTabSz="355600">
            <a:lnSpc>
              <a:spcPct val="90000"/>
            </a:lnSpc>
            <a:spcBef>
              <a:spcPct val="0"/>
            </a:spcBef>
            <a:spcAft>
              <a:spcPts val="600"/>
            </a:spcAft>
          </a:pPr>
          <a:r>
            <a:rPr lang="nl-NL" sz="800" kern="1200" dirty="0"/>
            <a:t>Toevoegen stukken aan dossier</a:t>
          </a:r>
        </a:p>
      </dsp:txBody>
      <dsp:txXfrm>
        <a:off x="4017920" y="3066309"/>
        <a:ext cx="1567837" cy="719998"/>
      </dsp:txXfrm>
    </dsp:sp>
    <dsp:sp modelId="{A7989C51-1EF4-4500-81D6-6D719DDD68D0}">
      <dsp:nvSpPr>
        <dsp:cNvPr id="0" name=""/>
        <dsp:cNvSpPr/>
      </dsp:nvSpPr>
      <dsp:spPr>
        <a:xfrm>
          <a:off x="5678573" y="3066309"/>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a:t>(Proces extra uren)</a:t>
          </a:r>
        </a:p>
        <a:p>
          <a:pPr lvl="0" algn="ctr" defTabSz="400050">
            <a:lnSpc>
              <a:spcPct val="90000"/>
            </a:lnSpc>
            <a:spcBef>
              <a:spcPct val="0"/>
            </a:spcBef>
            <a:spcAft>
              <a:spcPct val="35000"/>
            </a:spcAft>
          </a:pPr>
          <a:r>
            <a:rPr lang="nl-NL" sz="900" kern="1200" dirty="0"/>
            <a:t>Lasten </a:t>
          </a:r>
          <a:r>
            <a:rPr lang="nl-NL" sz="900" kern="1200" dirty="0" smtClean="0"/>
            <a:t>proces</a:t>
          </a:r>
        </a:p>
      </dsp:txBody>
      <dsp:txXfrm>
        <a:off x="6038572" y="3066309"/>
        <a:ext cx="1567837" cy="719998"/>
      </dsp:txXfrm>
    </dsp:sp>
    <dsp:sp modelId="{A13861A0-3C4D-407A-AD33-595EDBF2F097}">
      <dsp:nvSpPr>
        <dsp:cNvPr id="0" name=""/>
        <dsp:cNvSpPr/>
      </dsp:nvSpPr>
      <dsp:spPr>
        <a:xfrm>
          <a:off x="7699225" y="3066309"/>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059224" y="3066309"/>
        <a:ext cx="1567837" cy="719998"/>
      </dsp:txXfrm>
    </dsp:sp>
    <dsp:sp modelId="{0EE2C3EC-54D5-48DD-BB5E-1E84B5C6767E}">
      <dsp:nvSpPr>
        <dsp:cNvPr id="0" name=""/>
        <dsp:cNvSpPr/>
      </dsp:nvSpPr>
      <dsp:spPr>
        <a:xfrm>
          <a:off x="9719877" y="3066309"/>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079876" y="3066309"/>
        <a:ext cx="1567837" cy="719998"/>
      </dsp:txXfrm>
    </dsp:sp>
    <dsp:sp modelId="{369C16FF-CB50-4D98-9172-0EA7B2F7C0E9}">
      <dsp:nvSpPr>
        <dsp:cNvPr id="0" name=""/>
        <dsp:cNvSpPr/>
      </dsp:nvSpPr>
      <dsp:spPr>
        <a:xfrm>
          <a:off x="0" y="3896968"/>
          <a:ext cx="1936184" cy="719997"/>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smtClean="0">
              <a:solidFill>
                <a:schemeClr val="bg1"/>
              </a:solidFill>
            </a:rPr>
            <a:t>Besturing informatie-domein</a:t>
          </a:r>
        </a:p>
      </dsp:txBody>
      <dsp:txXfrm>
        <a:off x="359999" y="3896968"/>
        <a:ext cx="1216187" cy="719997"/>
      </dsp:txXfrm>
    </dsp:sp>
    <dsp:sp modelId="{F9B40E24-8054-4554-8AF6-D6B681E13EA0}">
      <dsp:nvSpPr>
        <dsp:cNvPr id="0" name=""/>
        <dsp:cNvSpPr/>
      </dsp:nvSpPr>
      <dsp:spPr>
        <a:xfrm>
          <a:off x="1637269" y="3896971"/>
          <a:ext cx="2287835" cy="719998"/>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pPr>
          <a:r>
            <a:rPr lang="nl-NL" sz="800" kern="1200" dirty="0" smtClean="0"/>
            <a:t>Professionalisering </a:t>
          </a:r>
          <a:r>
            <a:rPr lang="nl-NL" sz="800" kern="1200" dirty="0"/>
            <a:t>IM-organisatie</a:t>
          </a:r>
        </a:p>
        <a:p>
          <a:pPr lvl="0" algn="ctr" defTabSz="355600">
            <a:lnSpc>
              <a:spcPct val="90000"/>
            </a:lnSpc>
            <a:spcBef>
              <a:spcPct val="0"/>
            </a:spcBef>
            <a:spcAft>
              <a:spcPts val="600"/>
            </a:spcAft>
          </a:pPr>
          <a:r>
            <a:rPr lang="nl-NL" sz="800" kern="1200" dirty="0"/>
            <a:t>Ontwikkeling en beheer samenbrengen</a:t>
          </a:r>
        </a:p>
      </dsp:txBody>
      <dsp:txXfrm>
        <a:off x="1997268" y="3896971"/>
        <a:ext cx="1567837" cy="719998"/>
      </dsp:txXfrm>
    </dsp:sp>
    <dsp:sp modelId="{F7823181-D95C-4548-8D31-3B61A998A8F3}">
      <dsp:nvSpPr>
        <dsp:cNvPr id="0" name=""/>
        <dsp:cNvSpPr/>
      </dsp:nvSpPr>
      <dsp:spPr>
        <a:xfrm>
          <a:off x="3657921" y="3896971"/>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5080" rIns="0" bIns="5080" numCol="1" spcCol="1270" anchor="ctr" anchorCtr="0">
          <a:noAutofit/>
        </a:bodyPr>
        <a:lstStyle/>
        <a:p>
          <a:pPr lvl="0" algn="ctr" defTabSz="355600">
            <a:lnSpc>
              <a:spcPct val="90000"/>
            </a:lnSpc>
            <a:spcBef>
              <a:spcPct val="0"/>
            </a:spcBef>
            <a:spcAft>
              <a:spcPts val="400"/>
            </a:spcAft>
          </a:pPr>
          <a:r>
            <a:rPr lang="nl-NL" sz="800" kern="1200" dirty="0"/>
            <a:t>Inrichting Leveranciers- &amp; contractmanagement</a:t>
          </a:r>
        </a:p>
        <a:p>
          <a:pPr lvl="0" algn="ctr" defTabSz="355600">
            <a:lnSpc>
              <a:spcPct val="90000"/>
            </a:lnSpc>
            <a:spcBef>
              <a:spcPct val="0"/>
            </a:spcBef>
            <a:spcAft>
              <a:spcPts val="400"/>
            </a:spcAft>
          </a:pPr>
          <a:r>
            <a:rPr lang="nl-NL" sz="800" kern="1200" dirty="0" smtClean="0"/>
            <a:t>Professionalisering </a:t>
          </a:r>
          <a:r>
            <a:rPr lang="nl-NL" sz="800" kern="1200" dirty="0"/>
            <a:t>ICT inkoop</a:t>
          </a:r>
        </a:p>
        <a:p>
          <a:pPr lvl="0" algn="ctr" defTabSz="355600">
            <a:lnSpc>
              <a:spcPct val="90000"/>
            </a:lnSpc>
            <a:spcBef>
              <a:spcPct val="0"/>
            </a:spcBef>
            <a:spcAft>
              <a:spcPts val="400"/>
            </a:spcAft>
          </a:pPr>
          <a:r>
            <a:rPr lang="nl-NL" sz="800" kern="1200" dirty="0"/>
            <a:t>Data </a:t>
          </a:r>
          <a:r>
            <a:rPr lang="nl-NL" sz="800" kern="1200" dirty="0" err="1"/>
            <a:t>Governance</a:t>
          </a:r>
          <a:endParaRPr lang="nl-NL" sz="800" kern="1200" dirty="0"/>
        </a:p>
      </dsp:txBody>
      <dsp:txXfrm>
        <a:off x="4017920" y="3896971"/>
        <a:ext cx="1567837" cy="719998"/>
      </dsp:txXfrm>
    </dsp:sp>
    <dsp:sp modelId="{54E5B12B-5A5F-4DFD-A255-6C8C32526395}">
      <dsp:nvSpPr>
        <dsp:cNvPr id="0" name=""/>
        <dsp:cNvSpPr/>
      </dsp:nvSpPr>
      <dsp:spPr>
        <a:xfrm>
          <a:off x="5678573" y="3896971"/>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6038572" y="3896971"/>
        <a:ext cx="1567837" cy="719998"/>
      </dsp:txXfrm>
    </dsp:sp>
    <dsp:sp modelId="{9D541BD9-D6A2-43C7-B91C-2D697E81376F}">
      <dsp:nvSpPr>
        <dsp:cNvPr id="0" name=""/>
        <dsp:cNvSpPr/>
      </dsp:nvSpPr>
      <dsp:spPr>
        <a:xfrm>
          <a:off x="7699225" y="3896971"/>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059224" y="3896971"/>
        <a:ext cx="1567837" cy="719998"/>
      </dsp:txXfrm>
    </dsp:sp>
    <dsp:sp modelId="{267F98CF-3B0B-4374-BA95-4747FC32EBB6}">
      <dsp:nvSpPr>
        <dsp:cNvPr id="0" name=""/>
        <dsp:cNvSpPr/>
      </dsp:nvSpPr>
      <dsp:spPr>
        <a:xfrm>
          <a:off x="9719877" y="3896971"/>
          <a:ext cx="2287835" cy="7199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10079876" y="3896971"/>
        <a:ext cx="1567837" cy="719998"/>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72356" y="118918"/>
          <a:ext cx="1058400" cy="1058400"/>
        </a:xfrm>
        <a:prstGeom prst="pie">
          <a:avLst>
            <a:gd name="adj1" fmla="val 16200000"/>
            <a:gd name="adj2" fmla="val 18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b="1" kern="1200"/>
            <a:t>Basis op orde</a:t>
          </a:r>
        </a:p>
      </dsp:txBody>
      <dsp:txXfrm>
        <a:off x="747798" y="314218"/>
        <a:ext cx="359100" cy="352800"/>
      </dsp:txXfrm>
    </dsp:sp>
    <dsp:sp modelId="{826F2E86-6031-4C85-8175-41AC8A98B8A4}">
      <dsp:nvSpPr>
        <dsp:cNvPr id="0" name=""/>
        <dsp:cNvSpPr/>
      </dsp:nvSpPr>
      <dsp:spPr>
        <a:xfrm>
          <a:off x="172665" y="113184"/>
          <a:ext cx="1058400" cy="1058400"/>
        </a:xfrm>
        <a:prstGeom prst="pie">
          <a:avLst>
            <a:gd name="adj1" fmla="val 1800000"/>
            <a:gd name="adj2" fmla="val 900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err="1"/>
            <a:t>Vernieuw-ing</a:t>
          </a:r>
          <a:endParaRPr lang="nl-NL" sz="700" kern="1200"/>
        </a:p>
      </dsp:txBody>
      <dsp:txXfrm>
        <a:off x="462465" y="780984"/>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nl-NL" sz="700" kern="1200"/>
            <a:t>Data</a:t>
          </a:r>
        </a:p>
      </dsp:txBody>
      <dsp:txXfrm>
        <a:off x="299573" y="341954"/>
        <a:ext cx="339536" cy="3335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04653-AC57-46CE-A503-3CBBAD1D7D39}">
      <dsp:nvSpPr>
        <dsp:cNvPr id="0" name=""/>
        <dsp:cNvSpPr/>
      </dsp:nvSpPr>
      <dsp:spPr>
        <a:xfrm>
          <a:off x="546668" y="3343"/>
          <a:ext cx="1824345" cy="830578"/>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smtClean="0">
              <a:solidFill>
                <a:schemeClr val="bg1"/>
              </a:solidFill>
            </a:rPr>
            <a:t>Keten-samenwerking</a:t>
          </a:r>
          <a:endParaRPr lang="nl-NL" sz="1000" kern="1200">
            <a:solidFill>
              <a:schemeClr val="bg1"/>
            </a:solidFill>
          </a:endParaRPr>
        </a:p>
      </dsp:txBody>
      <dsp:txXfrm>
        <a:off x="961957" y="3343"/>
        <a:ext cx="993767" cy="830578"/>
      </dsp:txXfrm>
    </dsp:sp>
    <dsp:sp modelId="{9E6C8AC0-5D21-43F3-83C4-CC1B7203E690}">
      <dsp:nvSpPr>
        <dsp:cNvPr id="0" name=""/>
        <dsp:cNvSpPr/>
      </dsp:nvSpPr>
      <dsp:spPr>
        <a:xfrm>
          <a:off x="2101075" y="4676"/>
          <a:ext cx="2066055" cy="827911"/>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Tx/>
            <a:buNone/>
          </a:pPr>
          <a:r>
            <a:rPr lang="nl-NL" sz="900" kern="1200" dirty="0">
              <a:solidFill>
                <a:schemeClr val="tx1"/>
              </a:solidFill>
            </a:rPr>
            <a:t>Inrichten keten </a:t>
          </a:r>
          <a:r>
            <a:rPr lang="nl-NL" sz="900" kern="1200" dirty="0" smtClean="0">
              <a:solidFill>
                <a:schemeClr val="tx1"/>
              </a:solidFill>
            </a:rPr>
            <a:t>leverancier-tot-klantgroep</a:t>
          </a:r>
        </a:p>
        <a:p>
          <a:pPr lvl="0" algn="ctr" defTabSz="400050">
            <a:lnSpc>
              <a:spcPct val="90000"/>
            </a:lnSpc>
            <a:spcBef>
              <a:spcPct val="0"/>
            </a:spcBef>
            <a:spcAft>
              <a:spcPct val="35000"/>
            </a:spcAft>
            <a:buFontTx/>
            <a:buNone/>
          </a:pPr>
          <a:r>
            <a:rPr lang="nl-NL" sz="900" kern="1200" dirty="0" err="1" smtClean="0">
              <a:solidFill>
                <a:schemeClr val="tx1"/>
              </a:solidFill>
            </a:rPr>
            <a:t>Api</a:t>
          </a:r>
          <a:r>
            <a:rPr lang="nl-NL" sz="900" kern="1200" dirty="0" smtClean="0">
              <a:solidFill>
                <a:schemeClr val="tx1"/>
              </a:solidFill>
            </a:rPr>
            <a:t>-beleid vastgesteld</a:t>
          </a:r>
          <a:endParaRPr lang="nl-NL" sz="900" kern="1200" dirty="0">
            <a:solidFill>
              <a:schemeClr val="tx1"/>
            </a:solidFill>
          </a:endParaRPr>
        </a:p>
      </dsp:txBody>
      <dsp:txXfrm>
        <a:off x="2515031" y="4676"/>
        <a:ext cx="1238144" cy="827911"/>
      </dsp:txXfrm>
    </dsp:sp>
    <dsp:sp modelId="{5F155100-7715-4A17-90EE-690DB2345E60}">
      <dsp:nvSpPr>
        <dsp:cNvPr id="0" name=""/>
        <dsp:cNvSpPr/>
      </dsp:nvSpPr>
      <dsp:spPr>
        <a:xfrm>
          <a:off x="3925848" y="4673"/>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mj-lt"/>
            <a:buNone/>
          </a:pPr>
          <a:r>
            <a:rPr lang="nl-NL" sz="900" kern="1200" dirty="0">
              <a:solidFill>
                <a:schemeClr val="tx1"/>
              </a:solidFill>
            </a:rPr>
            <a:t>Ketenmonitoring uitbreiden naar externe partners (bijv. leveranciers)</a:t>
          </a:r>
        </a:p>
      </dsp:txBody>
      <dsp:txXfrm>
        <a:off x="4339807" y="4673"/>
        <a:ext cx="1238137" cy="827918"/>
      </dsp:txXfrm>
    </dsp:sp>
    <dsp:sp modelId="{7BCA09AF-73D2-4619-A7A7-F58A620080A0}">
      <dsp:nvSpPr>
        <dsp:cNvPr id="0" name=""/>
        <dsp:cNvSpPr/>
      </dsp:nvSpPr>
      <dsp:spPr>
        <a:xfrm>
          <a:off x="5750621" y="4673"/>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Randvoorwaarden scheppen voor ketensamenwerking door hanteren van open standaarden</a:t>
          </a:r>
        </a:p>
      </dsp:txBody>
      <dsp:txXfrm>
        <a:off x="6164580" y="4673"/>
        <a:ext cx="1238137" cy="827918"/>
      </dsp:txXfrm>
    </dsp:sp>
    <dsp:sp modelId="{6F58A52D-AFF9-49F5-8538-1AB9A54C1571}">
      <dsp:nvSpPr>
        <dsp:cNvPr id="0" name=""/>
        <dsp:cNvSpPr/>
      </dsp:nvSpPr>
      <dsp:spPr>
        <a:xfrm>
          <a:off x="7575393" y="4673"/>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Inning Eigen Bijdrage)</a:t>
          </a:r>
        </a:p>
      </dsp:txBody>
      <dsp:txXfrm>
        <a:off x="7989352" y="4673"/>
        <a:ext cx="1238137" cy="827918"/>
      </dsp:txXfrm>
    </dsp:sp>
    <dsp:sp modelId="{9DA68F1C-8A13-4764-9EED-8C5C1AC113E6}">
      <dsp:nvSpPr>
        <dsp:cNvPr id="0" name=""/>
        <dsp:cNvSpPr/>
      </dsp:nvSpPr>
      <dsp:spPr>
        <a:xfrm>
          <a:off x="9400166" y="4673"/>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9814125" y="4673"/>
        <a:ext cx="1238137" cy="827918"/>
      </dsp:txXfrm>
    </dsp:sp>
    <dsp:sp modelId="{07F6BDFA-2338-4E2D-916C-4E278D726FDB}">
      <dsp:nvSpPr>
        <dsp:cNvPr id="0" name=""/>
        <dsp:cNvSpPr/>
      </dsp:nvSpPr>
      <dsp:spPr>
        <a:xfrm>
          <a:off x="546668" y="950202"/>
          <a:ext cx="1748492" cy="830578"/>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nl-NL" sz="1100" kern="1200" dirty="0" smtClean="0">
              <a:solidFill>
                <a:schemeClr val="bg1"/>
              </a:solidFill>
            </a:rPr>
            <a:t>Stelsel-vernieuwing</a:t>
          </a:r>
          <a:endParaRPr lang="nl-NL" sz="1100" kern="1200" dirty="0">
            <a:solidFill>
              <a:schemeClr val="bg1"/>
            </a:solidFill>
          </a:endParaRPr>
        </a:p>
      </dsp:txBody>
      <dsp:txXfrm>
        <a:off x="961957" y="950202"/>
        <a:ext cx="917914" cy="830578"/>
      </dsp:txXfrm>
    </dsp:sp>
    <dsp:sp modelId="{45A1425D-2946-43E1-B1EC-77043B192449}">
      <dsp:nvSpPr>
        <dsp:cNvPr id="0" name=""/>
        <dsp:cNvSpPr/>
      </dsp:nvSpPr>
      <dsp:spPr>
        <a:xfrm>
          <a:off x="546668" y="1897062"/>
          <a:ext cx="1748492" cy="830578"/>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a:solidFill>
                <a:schemeClr val="bg1"/>
              </a:solidFill>
            </a:rPr>
            <a:t>Automatisering</a:t>
          </a:r>
        </a:p>
      </dsp:txBody>
      <dsp:txXfrm>
        <a:off x="961957" y="1897062"/>
        <a:ext cx="917914" cy="830578"/>
      </dsp:txXfrm>
    </dsp:sp>
    <dsp:sp modelId="{050DB05E-783F-4CCF-9747-F95A7E32D478}">
      <dsp:nvSpPr>
        <dsp:cNvPr id="0" name=""/>
        <dsp:cNvSpPr/>
      </dsp:nvSpPr>
      <dsp:spPr>
        <a:xfrm>
          <a:off x="2025223" y="1898396"/>
          <a:ext cx="2066055" cy="827911"/>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ClrTx/>
            <a:buSzTx/>
            <a:buFont typeface="+mj-lt"/>
            <a:buNone/>
          </a:pPr>
          <a:r>
            <a:rPr lang="nl-NL" sz="900" kern="1200" dirty="0" err="1" smtClean="0"/>
            <a:t>Mediation</a:t>
          </a:r>
          <a:r>
            <a:rPr lang="nl-NL" sz="900" kern="1200" baseline="0" dirty="0" smtClean="0"/>
            <a:t> Proces</a:t>
          </a:r>
        </a:p>
        <a:p>
          <a:pPr lvl="0" algn="ctr" defTabSz="400050">
            <a:lnSpc>
              <a:spcPct val="90000"/>
            </a:lnSpc>
            <a:spcBef>
              <a:spcPct val="0"/>
            </a:spcBef>
            <a:spcAft>
              <a:spcPct val="35000"/>
            </a:spcAft>
            <a:buClrTx/>
            <a:buSzTx/>
            <a:buFont typeface="+mj-lt"/>
            <a:buNone/>
          </a:pPr>
          <a:r>
            <a:rPr lang="nl-NL" sz="900" kern="1200" baseline="0" dirty="0" smtClean="0"/>
            <a:t>Beroep en Bezwaar</a:t>
          </a:r>
          <a:endParaRPr lang="nl-NL" sz="900" kern="1200" dirty="0"/>
        </a:p>
      </dsp:txBody>
      <dsp:txXfrm>
        <a:off x="2439179" y="1898396"/>
        <a:ext cx="1238144" cy="827911"/>
      </dsp:txXfrm>
    </dsp:sp>
    <dsp:sp modelId="{EE523708-1E1B-4AAA-A918-8F0DB46124F9}">
      <dsp:nvSpPr>
        <dsp:cNvPr id="0" name=""/>
        <dsp:cNvSpPr/>
      </dsp:nvSpPr>
      <dsp:spPr>
        <a:xfrm>
          <a:off x="3849996" y="189839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400"/>
            </a:spcAft>
          </a:pPr>
          <a:r>
            <a:rPr lang="nl-NL" sz="900" kern="1200" dirty="0" smtClean="0"/>
            <a:t>Proces asielaanvragen</a:t>
          </a:r>
        </a:p>
        <a:p>
          <a:pPr lvl="0" algn="ctr" defTabSz="400050">
            <a:lnSpc>
              <a:spcPct val="90000"/>
            </a:lnSpc>
            <a:spcBef>
              <a:spcPct val="0"/>
            </a:spcBef>
            <a:spcAft>
              <a:spcPts val="400"/>
            </a:spcAft>
          </a:pPr>
          <a:r>
            <a:rPr lang="nl-NL" sz="900" kern="1200" dirty="0" smtClean="0"/>
            <a:t>Proces Extra uren</a:t>
          </a:r>
          <a:endParaRPr lang="nl-NL" sz="900" kern="1200" dirty="0"/>
        </a:p>
      </dsp:txBody>
      <dsp:txXfrm>
        <a:off x="4263955" y="1898392"/>
        <a:ext cx="1238137" cy="827918"/>
      </dsp:txXfrm>
    </dsp:sp>
    <dsp:sp modelId="{87B307EE-F7E3-478C-99DF-363D7920F82C}">
      <dsp:nvSpPr>
        <dsp:cNvPr id="0" name=""/>
        <dsp:cNvSpPr/>
      </dsp:nvSpPr>
      <dsp:spPr>
        <a:xfrm>
          <a:off x="5674768" y="189839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Verdere automatisering doorvoeren in </a:t>
          </a:r>
          <a:r>
            <a:rPr lang="nl-NL" sz="900" kern="1200" dirty="0" err="1" smtClean="0"/>
            <a:t>Filenet</a:t>
          </a:r>
          <a:r>
            <a:rPr lang="nl-NL" sz="900" kern="1200" dirty="0" smtClean="0"/>
            <a:t> en Gras vervanging</a:t>
          </a:r>
          <a:endParaRPr lang="nl-NL" sz="900" kern="1200" dirty="0"/>
        </a:p>
      </dsp:txBody>
      <dsp:txXfrm>
        <a:off x="6088727" y="1898392"/>
        <a:ext cx="1238137" cy="827918"/>
      </dsp:txXfrm>
    </dsp:sp>
    <dsp:sp modelId="{CED8139D-1618-489C-91A6-6B435D2A051E}">
      <dsp:nvSpPr>
        <dsp:cNvPr id="0" name=""/>
        <dsp:cNvSpPr/>
      </dsp:nvSpPr>
      <dsp:spPr>
        <a:xfrm>
          <a:off x="7499541" y="189839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7913500" y="1898392"/>
        <a:ext cx="1238137" cy="827918"/>
      </dsp:txXfrm>
    </dsp:sp>
    <dsp:sp modelId="{76A59E32-1369-43F3-BA20-12EAEE339E49}">
      <dsp:nvSpPr>
        <dsp:cNvPr id="0" name=""/>
        <dsp:cNvSpPr/>
      </dsp:nvSpPr>
      <dsp:spPr>
        <a:xfrm>
          <a:off x="9280772" y="957864"/>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Stelselvernieuwing compleet geïmplementeerd</a:t>
          </a:r>
          <a:endParaRPr lang="nl-NL" sz="900" kern="1200" dirty="0"/>
        </a:p>
      </dsp:txBody>
      <dsp:txXfrm>
        <a:off x="9694731" y="957864"/>
        <a:ext cx="1238137" cy="827918"/>
      </dsp:txXfrm>
    </dsp:sp>
    <dsp:sp modelId="{AC514612-8832-4B0F-86D0-3200CCE54AE0}">
      <dsp:nvSpPr>
        <dsp:cNvPr id="0" name=""/>
        <dsp:cNvSpPr/>
      </dsp:nvSpPr>
      <dsp:spPr>
        <a:xfrm>
          <a:off x="546668" y="2843922"/>
          <a:ext cx="1748492" cy="830578"/>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Zelfhulp</a:t>
          </a:r>
        </a:p>
      </dsp:txBody>
      <dsp:txXfrm>
        <a:off x="961957" y="2843922"/>
        <a:ext cx="917914" cy="830578"/>
      </dsp:txXfrm>
    </dsp:sp>
    <dsp:sp modelId="{F6BDEFCB-7EF5-4C67-9CC3-C8A5F8837BEC}">
      <dsp:nvSpPr>
        <dsp:cNvPr id="0" name=""/>
        <dsp:cNvSpPr/>
      </dsp:nvSpPr>
      <dsp:spPr>
        <a:xfrm>
          <a:off x="2025223" y="2845256"/>
          <a:ext cx="2066055" cy="827911"/>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Arial" panose="020B0604020202020204" pitchFamily="34" charset="0"/>
            <a:buNone/>
          </a:pPr>
          <a:r>
            <a:rPr lang="nl-NL" sz="900" kern="1200"/>
            <a:t>Opties voor zelfhulp binnen portalen uitzoeken</a:t>
          </a:r>
        </a:p>
      </dsp:txBody>
      <dsp:txXfrm>
        <a:off x="2439179" y="2845256"/>
        <a:ext cx="1238144" cy="827911"/>
      </dsp:txXfrm>
    </dsp:sp>
    <dsp:sp modelId="{58186B43-07B2-485C-BAFC-A38A2D2CA252}">
      <dsp:nvSpPr>
        <dsp:cNvPr id="0" name=""/>
        <dsp:cNvSpPr/>
      </dsp:nvSpPr>
      <dsp:spPr>
        <a:xfrm>
          <a:off x="3849996" y="284525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ClrTx/>
            <a:buSzTx/>
            <a:buFont typeface="Arial" panose="020B0604020202020204" pitchFamily="34" charset="0"/>
            <a:buNone/>
          </a:pPr>
          <a:r>
            <a:rPr lang="nl-NL" sz="900" kern="1200" dirty="0"/>
            <a:t>Mogelijkheden </a:t>
          </a:r>
          <a:r>
            <a:rPr lang="nl-NL" sz="900" kern="1200" dirty="0" err="1"/>
            <a:t>chatbot</a:t>
          </a:r>
          <a:r>
            <a:rPr lang="nl-NL" sz="900" kern="1200" dirty="0"/>
            <a:t> o.i.d. onderzoeken</a:t>
          </a:r>
          <a:endParaRPr lang="nl-NL" sz="900" kern="1200" dirty="0">
            <a:solidFill>
              <a:srgbClr val="C00000"/>
            </a:solidFill>
          </a:endParaRPr>
        </a:p>
      </dsp:txBody>
      <dsp:txXfrm>
        <a:off x="4263955" y="2845252"/>
        <a:ext cx="1238137" cy="827918"/>
      </dsp:txXfrm>
    </dsp:sp>
    <dsp:sp modelId="{0147A711-EAE7-444C-88B2-0E0CB88E6274}">
      <dsp:nvSpPr>
        <dsp:cNvPr id="0" name=""/>
        <dsp:cNvSpPr/>
      </dsp:nvSpPr>
      <dsp:spPr>
        <a:xfrm>
          <a:off x="5674768" y="284525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Zelfselectie rechtshulppakketten inrichten</a:t>
          </a:r>
        </a:p>
      </dsp:txBody>
      <dsp:txXfrm>
        <a:off x="6088727" y="2845252"/>
        <a:ext cx="1238137" cy="827918"/>
      </dsp:txXfrm>
    </dsp:sp>
    <dsp:sp modelId="{9FA528D7-26AC-4E04-B14F-E0155359DB2B}">
      <dsp:nvSpPr>
        <dsp:cNvPr id="0" name=""/>
        <dsp:cNvSpPr/>
      </dsp:nvSpPr>
      <dsp:spPr>
        <a:xfrm>
          <a:off x="7499541" y="284525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a:t>Burgerportaal </a:t>
          </a:r>
          <a:r>
            <a:rPr lang="nl-NL" sz="900" kern="1200" dirty="0" smtClean="0"/>
            <a:t>uitbreiden</a:t>
          </a:r>
          <a:endParaRPr lang="nl-NL" sz="900" kern="1200" dirty="0"/>
        </a:p>
      </dsp:txBody>
      <dsp:txXfrm>
        <a:off x="7913500" y="2845252"/>
        <a:ext cx="1238137" cy="827918"/>
      </dsp:txXfrm>
    </dsp:sp>
    <dsp:sp modelId="{6E216FF8-2780-4ABE-969B-CDD8F6583DDC}">
      <dsp:nvSpPr>
        <dsp:cNvPr id="0" name=""/>
        <dsp:cNvSpPr/>
      </dsp:nvSpPr>
      <dsp:spPr>
        <a:xfrm>
          <a:off x="9324314" y="284525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9738273" y="2845252"/>
        <a:ext cx="1238137" cy="827918"/>
      </dsp:txXfrm>
    </dsp:sp>
    <dsp:sp modelId="{01295B02-5629-4790-BB4D-A7650C590746}">
      <dsp:nvSpPr>
        <dsp:cNvPr id="0" name=""/>
        <dsp:cNvSpPr/>
      </dsp:nvSpPr>
      <dsp:spPr>
        <a:xfrm>
          <a:off x="546668" y="3790782"/>
          <a:ext cx="1748492" cy="830578"/>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Infrastructuur</a:t>
          </a:r>
        </a:p>
      </dsp:txBody>
      <dsp:txXfrm>
        <a:off x="961957" y="3790782"/>
        <a:ext cx="917914" cy="830578"/>
      </dsp:txXfrm>
    </dsp:sp>
    <dsp:sp modelId="{6EF753EC-17CD-46A6-81D5-6C737C6C4D8F}">
      <dsp:nvSpPr>
        <dsp:cNvPr id="0" name=""/>
        <dsp:cNvSpPr/>
      </dsp:nvSpPr>
      <dsp:spPr>
        <a:xfrm>
          <a:off x="2025223" y="3792116"/>
          <a:ext cx="2066055" cy="827911"/>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a:t>Cloudstrategie </a:t>
          </a:r>
          <a:r>
            <a:rPr lang="nl-NL" sz="900" kern="1200" dirty="0" smtClean="0"/>
            <a:t>vastgesteld</a:t>
          </a:r>
        </a:p>
        <a:p>
          <a:pPr lvl="0" algn="ctr" defTabSz="400050">
            <a:lnSpc>
              <a:spcPct val="90000"/>
            </a:lnSpc>
            <a:spcBef>
              <a:spcPct val="0"/>
            </a:spcBef>
            <a:spcAft>
              <a:spcPct val="35000"/>
            </a:spcAft>
          </a:pPr>
          <a:r>
            <a:rPr lang="nl-NL" sz="900" kern="1200" dirty="0" smtClean="0"/>
            <a:t>Applicaties naar de Cloud brengen</a:t>
          </a:r>
          <a:endParaRPr lang="nl-NL" sz="900" kern="1200" dirty="0"/>
        </a:p>
      </dsp:txBody>
      <dsp:txXfrm>
        <a:off x="2439179" y="3792116"/>
        <a:ext cx="1238144" cy="827911"/>
      </dsp:txXfrm>
    </dsp:sp>
    <dsp:sp modelId="{63D44174-705A-471D-8957-98F128C02313}">
      <dsp:nvSpPr>
        <dsp:cNvPr id="0" name=""/>
        <dsp:cNvSpPr/>
      </dsp:nvSpPr>
      <dsp:spPr>
        <a:xfrm>
          <a:off x="3849996" y="379211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Applicaties naar de </a:t>
          </a:r>
          <a:r>
            <a:rPr lang="nl-NL" sz="900" kern="1200" err="1"/>
            <a:t>cloud</a:t>
          </a:r>
          <a:r>
            <a:rPr lang="nl-NL" sz="900" kern="1200"/>
            <a:t> brengen</a:t>
          </a:r>
        </a:p>
      </dsp:txBody>
      <dsp:txXfrm>
        <a:off x="4263955" y="3792112"/>
        <a:ext cx="1238137" cy="827918"/>
      </dsp:txXfrm>
    </dsp:sp>
    <dsp:sp modelId="{A7989C51-1EF4-4500-81D6-6D719DDD68D0}">
      <dsp:nvSpPr>
        <dsp:cNvPr id="0" name=""/>
        <dsp:cNvSpPr/>
      </dsp:nvSpPr>
      <dsp:spPr>
        <a:xfrm>
          <a:off x="5674768" y="379211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Applicaties naar de </a:t>
          </a:r>
          <a:r>
            <a:rPr lang="nl-NL" sz="900" kern="1200" err="1"/>
            <a:t>cloud</a:t>
          </a:r>
          <a:r>
            <a:rPr lang="nl-NL" sz="900" kern="1200"/>
            <a:t> brengen</a:t>
          </a:r>
        </a:p>
      </dsp:txBody>
      <dsp:txXfrm>
        <a:off x="6088727" y="3792112"/>
        <a:ext cx="1238137" cy="827918"/>
      </dsp:txXfrm>
    </dsp:sp>
    <dsp:sp modelId="{A13861A0-3C4D-407A-AD33-595EDBF2F097}">
      <dsp:nvSpPr>
        <dsp:cNvPr id="0" name=""/>
        <dsp:cNvSpPr/>
      </dsp:nvSpPr>
      <dsp:spPr>
        <a:xfrm>
          <a:off x="7499541" y="379211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Cloudstrategie volledig gerealiseerd</a:t>
          </a:r>
          <a:endParaRPr lang="nl-NL" sz="900" kern="1200" dirty="0"/>
        </a:p>
      </dsp:txBody>
      <dsp:txXfrm>
        <a:off x="7913500" y="3792112"/>
        <a:ext cx="1238137" cy="827918"/>
      </dsp:txXfrm>
    </dsp:sp>
    <dsp:sp modelId="{0EE2C3EC-54D5-48DD-BB5E-1E84B5C6767E}">
      <dsp:nvSpPr>
        <dsp:cNvPr id="0" name=""/>
        <dsp:cNvSpPr/>
      </dsp:nvSpPr>
      <dsp:spPr>
        <a:xfrm>
          <a:off x="9407525" y="379211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9821484" y="3792112"/>
        <a:ext cx="1238137" cy="827918"/>
      </dsp:txXfrm>
    </dsp:sp>
    <dsp:sp modelId="{369C16FF-CB50-4D98-9172-0EA7B2F7C0E9}">
      <dsp:nvSpPr>
        <dsp:cNvPr id="0" name=""/>
        <dsp:cNvSpPr/>
      </dsp:nvSpPr>
      <dsp:spPr>
        <a:xfrm>
          <a:off x="546668" y="4737642"/>
          <a:ext cx="1748492" cy="830578"/>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solidFill>
                <a:schemeClr val="bg1"/>
              </a:solidFill>
            </a:rPr>
            <a:t>Moderne werkomgeving</a:t>
          </a:r>
          <a:endParaRPr lang="nl-NL" sz="900" kern="1200" dirty="0">
            <a:solidFill>
              <a:schemeClr val="bg1"/>
            </a:solidFill>
          </a:endParaRPr>
        </a:p>
      </dsp:txBody>
      <dsp:txXfrm>
        <a:off x="961957" y="4737642"/>
        <a:ext cx="917914" cy="830578"/>
      </dsp:txXfrm>
    </dsp:sp>
    <dsp:sp modelId="{F9B40E24-8054-4554-8AF6-D6B681E13EA0}">
      <dsp:nvSpPr>
        <dsp:cNvPr id="0" name=""/>
        <dsp:cNvSpPr/>
      </dsp:nvSpPr>
      <dsp:spPr>
        <a:xfrm>
          <a:off x="2025223" y="4738975"/>
          <a:ext cx="2066055" cy="827911"/>
        </a:xfrm>
        <a:prstGeom prst="chevron">
          <a:avLst/>
        </a:prstGeom>
        <a:solidFill>
          <a:schemeClr val="accent1">
            <a:lumMod val="90000"/>
            <a:alpha val="90000"/>
          </a:schemeClr>
        </a:solidFill>
        <a:ln w="25400" cap="flat" cmpd="sng" algn="ctr">
          <a:solidFill>
            <a:schemeClr val="accent1">
              <a:lumMod val="9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Visie Werkplek van Toekomst en start implementeren incl. MDM en telefonie</a:t>
          </a:r>
          <a:endParaRPr lang="nl-NL" sz="900" kern="1200" dirty="0"/>
        </a:p>
      </dsp:txBody>
      <dsp:txXfrm>
        <a:off x="2439179" y="4738975"/>
        <a:ext cx="1238144" cy="827911"/>
      </dsp:txXfrm>
    </dsp:sp>
    <dsp:sp modelId="{F7823181-D95C-4548-8D31-3B61A998A8F3}">
      <dsp:nvSpPr>
        <dsp:cNvPr id="0" name=""/>
        <dsp:cNvSpPr/>
      </dsp:nvSpPr>
      <dsp:spPr>
        <a:xfrm>
          <a:off x="3849996" y="473897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5715" rIns="0" bIns="5715" numCol="1" spcCol="1270" anchor="ctr" anchorCtr="0">
          <a:noAutofit/>
        </a:bodyPr>
        <a:lstStyle/>
        <a:p>
          <a:pPr lvl="0" algn="ctr" defTabSz="400050">
            <a:lnSpc>
              <a:spcPct val="90000"/>
            </a:lnSpc>
            <a:spcBef>
              <a:spcPct val="0"/>
            </a:spcBef>
            <a:spcAft>
              <a:spcPts val="600"/>
            </a:spcAft>
          </a:pPr>
          <a:r>
            <a:rPr lang="nl-NL" sz="900" kern="1200" dirty="0" smtClean="0"/>
            <a:t>Werkplek van de Toekomst implementeren</a:t>
          </a:r>
          <a:endParaRPr lang="nl-NL" sz="900" kern="1200" dirty="0"/>
        </a:p>
      </dsp:txBody>
      <dsp:txXfrm>
        <a:off x="4263955" y="4738972"/>
        <a:ext cx="1238137" cy="827918"/>
      </dsp:txXfrm>
    </dsp:sp>
    <dsp:sp modelId="{54E5B12B-5A5F-4DFD-A255-6C8C32526395}">
      <dsp:nvSpPr>
        <dsp:cNvPr id="0" name=""/>
        <dsp:cNvSpPr/>
      </dsp:nvSpPr>
      <dsp:spPr>
        <a:xfrm>
          <a:off x="5674768" y="473897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a:t>Werkplek van de toekomst implementeren</a:t>
          </a:r>
        </a:p>
      </dsp:txBody>
      <dsp:txXfrm>
        <a:off x="6088727" y="4738972"/>
        <a:ext cx="1238137" cy="827918"/>
      </dsp:txXfrm>
    </dsp:sp>
    <dsp:sp modelId="{9D541BD9-D6A2-43C7-B91C-2D697E81376F}">
      <dsp:nvSpPr>
        <dsp:cNvPr id="0" name=""/>
        <dsp:cNvSpPr/>
      </dsp:nvSpPr>
      <dsp:spPr>
        <a:xfrm>
          <a:off x="7499541" y="473897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Werkplek van de toekomst implementeren</a:t>
          </a:r>
        </a:p>
      </dsp:txBody>
      <dsp:txXfrm>
        <a:off x="7913500" y="4738972"/>
        <a:ext cx="1238137" cy="827918"/>
      </dsp:txXfrm>
    </dsp:sp>
    <dsp:sp modelId="{267F98CF-3B0B-4374-BA95-4747FC32EBB6}">
      <dsp:nvSpPr>
        <dsp:cNvPr id="0" name=""/>
        <dsp:cNvSpPr/>
      </dsp:nvSpPr>
      <dsp:spPr>
        <a:xfrm>
          <a:off x="9324314" y="4738972"/>
          <a:ext cx="2066055" cy="82791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a:t>Werkplek van de toekomst implementeren</a:t>
          </a:r>
        </a:p>
      </dsp:txBody>
      <dsp:txXfrm>
        <a:off x="9738273" y="4738972"/>
        <a:ext cx="1238137" cy="8279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04653-AC57-46CE-A503-3CBBAD1D7D39}">
      <dsp:nvSpPr>
        <dsp:cNvPr id="0" name=""/>
        <dsp:cNvSpPr/>
      </dsp:nvSpPr>
      <dsp:spPr>
        <a:xfrm>
          <a:off x="2588" y="274619"/>
          <a:ext cx="1936184" cy="73799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smtClean="0">
              <a:solidFill>
                <a:schemeClr val="bg1"/>
              </a:solidFill>
            </a:rPr>
            <a:t>Data-allianties</a:t>
          </a:r>
          <a:endParaRPr lang="nl-NL" sz="1000" kern="1200">
            <a:solidFill>
              <a:schemeClr val="bg1"/>
            </a:solidFill>
          </a:endParaRPr>
        </a:p>
      </dsp:txBody>
      <dsp:txXfrm>
        <a:off x="371586" y="274619"/>
        <a:ext cx="1198188" cy="737996"/>
      </dsp:txXfrm>
    </dsp:sp>
    <dsp:sp modelId="{9E6C8AC0-5D21-43F3-83C4-CC1B7203E690}">
      <dsp:nvSpPr>
        <dsp:cNvPr id="0" name=""/>
        <dsp:cNvSpPr/>
      </dsp:nvSpPr>
      <dsp:spPr>
        <a:xfrm>
          <a:off x="1639858" y="274618"/>
          <a:ext cx="2287835" cy="737999"/>
        </a:xfrm>
        <a:prstGeom prst="chevron">
          <a:avLst/>
        </a:prstGeom>
        <a:solidFill>
          <a:schemeClr val="accent1">
            <a:lumMod val="90000"/>
          </a:schemeClr>
        </a:solidFill>
        <a:ln w="254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buFontTx/>
            <a:buNone/>
          </a:pPr>
          <a:r>
            <a:rPr lang="nl-NL" sz="800" kern="1200" dirty="0" smtClean="0"/>
            <a:t>Voorwaarden opstellen data-allianties</a:t>
          </a:r>
        </a:p>
        <a:p>
          <a:pPr lvl="0" algn="ctr" defTabSz="355600">
            <a:lnSpc>
              <a:spcPct val="90000"/>
            </a:lnSpc>
            <a:spcBef>
              <a:spcPct val="0"/>
            </a:spcBef>
            <a:spcAft>
              <a:spcPct val="35000"/>
            </a:spcAft>
            <a:buFontTx/>
            <a:buNone/>
          </a:pPr>
          <a:r>
            <a:rPr lang="nl-NL" sz="800" kern="1200" dirty="0" smtClean="0">
              <a:solidFill>
                <a:schemeClr val="tx1"/>
              </a:solidFill>
            </a:rPr>
            <a:t>Datastrategie afspreken met ketenpartners</a:t>
          </a:r>
        </a:p>
        <a:p>
          <a:pPr lvl="0" algn="ctr" defTabSz="355600">
            <a:lnSpc>
              <a:spcPct val="90000"/>
            </a:lnSpc>
            <a:spcBef>
              <a:spcPct val="0"/>
            </a:spcBef>
            <a:spcAft>
              <a:spcPct val="35000"/>
            </a:spcAft>
            <a:buFontTx/>
            <a:buNone/>
          </a:pPr>
          <a:r>
            <a:rPr lang="nl-NL" sz="800" kern="1200" dirty="0" smtClean="0">
              <a:solidFill>
                <a:schemeClr val="tx1"/>
              </a:solidFill>
            </a:rPr>
            <a:t>Pilots data-allianties</a:t>
          </a:r>
          <a:endParaRPr lang="nl-NL" sz="800" kern="1200" dirty="0">
            <a:solidFill>
              <a:schemeClr val="tx1"/>
            </a:solidFill>
          </a:endParaRPr>
        </a:p>
      </dsp:txBody>
      <dsp:txXfrm>
        <a:off x="2008858" y="274618"/>
        <a:ext cx="1549836" cy="737999"/>
      </dsp:txXfrm>
    </dsp:sp>
    <dsp:sp modelId="{5F155100-7715-4A17-90EE-690DB2345E60}">
      <dsp:nvSpPr>
        <dsp:cNvPr id="0" name=""/>
        <dsp:cNvSpPr/>
      </dsp:nvSpPr>
      <dsp:spPr>
        <a:xfrm>
          <a:off x="3660510" y="274618"/>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buFont typeface="+mj-lt"/>
            <a:buNone/>
          </a:pPr>
          <a:r>
            <a:rPr lang="nl-NL" sz="800" kern="1200" dirty="0" smtClean="0"/>
            <a:t>Randvoorwaarden inrichten realisatie data-allianties</a:t>
          </a:r>
        </a:p>
        <a:p>
          <a:pPr lvl="0" algn="ctr" defTabSz="355600">
            <a:lnSpc>
              <a:spcPct val="90000"/>
            </a:lnSpc>
            <a:spcBef>
              <a:spcPct val="0"/>
            </a:spcBef>
            <a:spcAft>
              <a:spcPts val="600"/>
            </a:spcAft>
            <a:buFont typeface="+mj-lt"/>
            <a:buNone/>
          </a:pPr>
          <a:r>
            <a:rPr lang="nl-NL" sz="800" kern="1200" dirty="0" smtClean="0"/>
            <a:t>Eerste data-alliantie(s) in werking brengen</a:t>
          </a:r>
          <a:endParaRPr lang="nl-NL" sz="800" kern="1200" dirty="0">
            <a:solidFill>
              <a:schemeClr val="tx1"/>
            </a:solidFill>
          </a:endParaRPr>
        </a:p>
      </dsp:txBody>
      <dsp:txXfrm>
        <a:off x="4029510" y="274618"/>
        <a:ext cx="1549836" cy="737999"/>
      </dsp:txXfrm>
    </dsp:sp>
    <dsp:sp modelId="{7BCA09AF-73D2-4619-A7A7-F58A620080A0}">
      <dsp:nvSpPr>
        <dsp:cNvPr id="0" name=""/>
        <dsp:cNvSpPr/>
      </dsp:nvSpPr>
      <dsp:spPr>
        <a:xfrm>
          <a:off x="5681162" y="274618"/>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6050162" y="274618"/>
        <a:ext cx="1549836" cy="737999"/>
      </dsp:txXfrm>
    </dsp:sp>
    <dsp:sp modelId="{6F58A52D-AFF9-49F5-8538-1AB9A54C1571}">
      <dsp:nvSpPr>
        <dsp:cNvPr id="0" name=""/>
        <dsp:cNvSpPr/>
      </dsp:nvSpPr>
      <dsp:spPr>
        <a:xfrm>
          <a:off x="7701814" y="274618"/>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a:t>Volwassenheid: in staat om flexibel op en af te schalen en aan of af te sluiten</a:t>
          </a:r>
        </a:p>
      </dsp:txBody>
      <dsp:txXfrm>
        <a:off x="8070814" y="274618"/>
        <a:ext cx="1549836" cy="737999"/>
      </dsp:txXfrm>
    </dsp:sp>
    <dsp:sp modelId="{9DA68F1C-8A13-4764-9EED-8C5C1AC113E6}">
      <dsp:nvSpPr>
        <dsp:cNvPr id="0" name=""/>
        <dsp:cNvSpPr/>
      </dsp:nvSpPr>
      <dsp:spPr>
        <a:xfrm>
          <a:off x="9722466" y="274618"/>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091466" y="274618"/>
        <a:ext cx="1549836" cy="737999"/>
      </dsp:txXfrm>
    </dsp:sp>
    <dsp:sp modelId="{45A1425D-2946-43E1-B1EC-77043B192449}">
      <dsp:nvSpPr>
        <dsp:cNvPr id="0" name=""/>
        <dsp:cNvSpPr/>
      </dsp:nvSpPr>
      <dsp:spPr>
        <a:xfrm>
          <a:off x="2588" y="1141381"/>
          <a:ext cx="1936184" cy="73799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solidFill>
                <a:schemeClr val="bg1"/>
              </a:solidFill>
            </a:rPr>
            <a:t>Onbetwistbare data</a:t>
          </a:r>
          <a:endParaRPr lang="nl-NL" sz="900" kern="1200" dirty="0">
            <a:solidFill>
              <a:schemeClr val="bg1"/>
            </a:solidFill>
          </a:endParaRPr>
        </a:p>
      </dsp:txBody>
      <dsp:txXfrm>
        <a:off x="371586" y="1141381"/>
        <a:ext cx="1198188" cy="737996"/>
      </dsp:txXfrm>
    </dsp:sp>
    <dsp:sp modelId="{050DB05E-783F-4CCF-9747-F95A7E32D478}">
      <dsp:nvSpPr>
        <dsp:cNvPr id="0" name=""/>
        <dsp:cNvSpPr/>
      </dsp:nvSpPr>
      <dsp:spPr>
        <a:xfrm>
          <a:off x="1639858" y="1141380"/>
          <a:ext cx="2287835" cy="737999"/>
        </a:xfrm>
        <a:prstGeom prst="chevron">
          <a:avLst/>
        </a:prstGeom>
        <a:solidFill>
          <a:schemeClr val="accent1">
            <a:lumMod val="90000"/>
          </a:schemeClr>
        </a:solidFill>
        <a:ln w="254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buClrTx/>
            <a:buSzTx/>
            <a:buFont typeface="+mj-lt"/>
            <a:buNone/>
          </a:pPr>
          <a:r>
            <a:rPr lang="nl-NL" sz="800" kern="1200" dirty="0"/>
            <a:t>Kwaliteitscriteria nieuwe data </a:t>
          </a:r>
          <a:r>
            <a:rPr lang="nl-NL" sz="800" kern="1200" dirty="0" smtClean="0"/>
            <a:t>vaststellen</a:t>
          </a:r>
        </a:p>
        <a:p>
          <a:pPr lvl="0" algn="ctr" defTabSz="355600">
            <a:lnSpc>
              <a:spcPct val="90000"/>
            </a:lnSpc>
            <a:spcBef>
              <a:spcPct val="0"/>
            </a:spcBef>
            <a:spcAft>
              <a:spcPts val="600"/>
            </a:spcAft>
            <a:buClrTx/>
            <a:buSzTx/>
            <a:buFont typeface="+mj-lt"/>
            <a:buNone/>
          </a:pPr>
          <a:r>
            <a:rPr lang="nl-NL" sz="800" kern="1200" dirty="0" smtClean="0"/>
            <a:t>Zicht </a:t>
          </a:r>
          <a:r>
            <a:rPr lang="nl-NL" sz="800" kern="1200" dirty="0"/>
            <a:t>krijgen op betrouwbaarheid historische data</a:t>
          </a:r>
        </a:p>
      </dsp:txBody>
      <dsp:txXfrm>
        <a:off x="2008858" y="1141380"/>
        <a:ext cx="1549836" cy="737999"/>
      </dsp:txXfrm>
    </dsp:sp>
    <dsp:sp modelId="{EE523708-1E1B-4AAA-A918-8F0DB46124F9}">
      <dsp:nvSpPr>
        <dsp:cNvPr id="0" name=""/>
        <dsp:cNvSpPr/>
      </dsp:nvSpPr>
      <dsp:spPr>
        <a:xfrm>
          <a:off x="3660510" y="1141380"/>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buFont typeface="+mj-lt"/>
            <a:buNone/>
          </a:pPr>
          <a:r>
            <a:rPr lang="nl-NL" sz="800" kern="1200" dirty="0" smtClean="0"/>
            <a:t>Betrouwbaarheid historische data verbeteren</a:t>
          </a:r>
        </a:p>
        <a:p>
          <a:pPr lvl="0" algn="ctr" defTabSz="355600">
            <a:lnSpc>
              <a:spcPct val="90000"/>
            </a:lnSpc>
            <a:spcBef>
              <a:spcPct val="0"/>
            </a:spcBef>
            <a:spcAft>
              <a:spcPct val="35000"/>
            </a:spcAft>
            <a:buFont typeface="+mj-lt"/>
            <a:buNone/>
          </a:pPr>
          <a:r>
            <a:rPr lang="nl-NL" sz="800" kern="1200" dirty="0" smtClean="0">
              <a:solidFill>
                <a:schemeClr val="tx1"/>
              </a:solidFill>
            </a:rPr>
            <a:t>Nieuwe data is volledig (&gt;99%) betrouwbaar</a:t>
          </a:r>
          <a:endParaRPr lang="nl-NL" sz="800" kern="1200" dirty="0">
            <a:solidFill>
              <a:schemeClr val="tx1"/>
            </a:solidFill>
          </a:endParaRPr>
        </a:p>
      </dsp:txBody>
      <dsp:txXfrm>
        <a:off x="4029510" y="1141380"/>
        <a:ext cx="1549836" cy="737999"/>
      </dsp:txXfrm>
    </dsp:sp>
    <dsp:sp modelId="{87B307EE-F7E3-478C-99DF-363D7920F82C}">
      <dsp:nvSpPr>
        <dsp:cNvPr id="0" name=""/>
        <dsp:cNvSpPr/>
      </dsp:nvSpPr>
      <dsp:spPr>
        <a:xfrm>
          <a:off x="5681162" y="1141380"/>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a:t>‘Nieuwe data’ is </a:t>
          </a:r>
          <a:r>
            <a:rPr lang="nl-NL" sz="800" kern="1200" dirty="0" smtClean="0"/>
            <a:t>&gt; </a:t>
          </a:r>
          <a:r>
            <a:rPr lang="nl-NL" sz="800" kern="1200" dirty="0"/>
            <a:t>99% betrouwbaar en de </a:t>
          </a:r>
          <a:r>
            <a:rPr lang="nl-NL" sz="800" kern="1200" dirty="0" smtClean="0"/>
            <a:t>onbetrouwbare data </a:t>
          </a:r>
          <a:r>
            <a:rPr lang="nl-NL" sz="800" kern="1200" dirty="0"/>
            <a:t>is bekend.</a:t>
          </a:r>
        </a:p>
      </dsp:txBody>
      <dsp:txXfrm>
        <a:off x="6050162" y="1141380"/>
        <a:ext cx="1549836" cy="737999"/>
      </dsp:txXfrm>
    </dsp:sp>
    <dsp:sp modelId="{CED8139D-1618-489C-91A6-6B435D2A051E}">
      <dsp:nvSpPr>
        <dsp:cNvPr id="0" name=""/>
        <dsp:cNvSpPr/>
      </dsp:nvSpPr>
      <dsp:spPr>
        <a:xfrm>
          <a:off x="7701814" y="1141380"/>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070814" y="1141380"/>
        <a:ext cx="1549836" cy="737999"/>
      </dsp:txXfrm>
    </dsp:sp>
    <dsp:sp modelId="{76A59E32-1369-43F3-BA20-12EAEE339E49}">
      <dsp:nvSpPr>
        <dsp:cNvPr id="0" name=""/>
        <dsp:cNvSpPr/>
      </dsp:nvSpPr>
      <dsp:spPr>
        <a:xfrm>
          <a:off x="9722466" y="1141380"/>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091466" y="1141380"/>
        <a:ext cx="1549836" cy="737999"/>
      </dsp:txXfrm>
    </dsp:sp>
    <dsp:sp modelId="{AC514612-8832-4B0F-86D0-3200CCE54AE0}">
      <dsp:nvSpPr>
        <dsp:cNvPr id="0" name=""/>
        <dsp:cNvSpPr/>
      </dsp:nvSpPr>
      <dsp:spPr>
        <a:xfrm>
          <a:off x="2588" y="2008144"/>
          <a:ext cx="1936184" cy="73799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smtClean="0">
              <a:solidFill>
                <a:schemeClr val="bg1"/>
              </a:solidFill>
            </a:rPr>
            <a:t>Data warehousing</a:t>
          </a:r>
          <a:endParaRPr lang="nl-NL" sz="1000" kern="1200">
            <a:solidFill>
              <a:schemeClr val="bg1"/>
            </a:solidFill>
          </a:endParaRPr>
        </a:p>
      </dsp:txBody>
      <dsp:txXfrm>
        <a:off x="371586" y="2008144"/>
        <a:ext cx="1198188" cy="737996"/>
      </dsp:txXfrm>
    </dsp:sp>
    <dsp:sp modelId="{F6BDEFCB-7EF5-4C67-9CC3-C8A5F8837BEC}">
      <dsp:nvSpPr>
        <dsp:cNvPr id="0" name=""/>
        <dsp:cNvSpPr/>
      </dsp:nvSpPr>
      <dsp:spPr>
        <a:xfrm>
          <a:off x="1639858" y="2008142"/>
          <a:ext cx="2287835" cy="737999"/>
        </a:xfrm>
        <a:prstGeom prst="chevron">
          <a:avLst/>
        </a:prstGeom>
        <a:solidFill>
          <a:schemeClr val="accent1">
            <a:lumMod val="90000"/>
          </a:schemeClr>
        </a:solidFill>
        <a:ln w="254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buFont typeface="Arial" panose="020B0604020202020204" pitchFamily="34" charset="0"/>
            <a:buNone/>
          </a:pPr>
          <a:r>
            <a:rPr lang="nl-NL" sz="800" kern="1200" dirty="0"/>
            <a:t>Data-architectuur </a:t>
          </a:r>
          <a:r>
            <a:rPr lang="nl-NL" sz="800" kern="1200" dirty="0" smtClean="0"/>
            <a:t>vaststellen</a:t>
          </a:r>
        </a:p>
        <a:p>
          <a:pPr lvl="0" algn="ctr" defTabSz="355600">
            <a:lnSpc>
              <a:spcPct val="90000"/>
            </a:lnSpc>
            <a:spcBef>
              <a:spcPct val="0"/>
            </a:spcBef>
            <a:spcAft>
              <a:spcPct val="35000"/>
            </a:spcAft>
            <a:buFont typeface="Arial" panose="020B0604020202020204" pitchFamily="34" charset="0"/>
            <a:buNone/>
          </a:pPr>
          <a:r>
            <a:rPr lang="nl-NL" sz="800" kern="1200" dirty="0" smtClean="0"/>
            <a:t>Start inrichten Datawarehouse</a:t>
          </a:r>
          <a:endParaRPr lang="nl-NL" sz="800" kern="1200" dirty="0"/>
        </a:p>
      </dsp:txBody>
      <dsp:txXfrm>
        <a:off x="2008858" y="2008142"/>
        <a:ext cx="1549836" cy="737999"/>
      </dsp:txXfrm>
    </dsp:sp>
    <dsp:sp modelId="{58186B43-07B2-485C-BAFC-A38A2D2CA252}">
      <dsp:nvSpPr>
        <dsp:cNvPr id="0" name=""/>
        <dsp:cNvSpPr/>
      </dsp:nvSpPr>
      <dsp:spPr>
        <a:xfrm>
          <a:off x="3660510" y="2008142"/>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ts val="600"/>
            </a:spcAft>
            <a:buClrTx/>
            <a:buSzTx/>
            <a:buFont typeface="Arial" panose="020B0604020202020204" pitchFamily="34" charset="0"/>
            <a:buNone/>
          </a:pPr>
          <a:r>
            <a:rPr lang="nl-NL" sz="800" kern="1200" dirty="0" smtClean="0"/>
            <a:t>Datawarehouse-manager in stelling brengen</a:t>
          </a:r>
        </a:p>
        <a:p>
          <a:pPr lvl="0" algn="ctr" defTabSz="355600">
            <a:lnSpc>
              <a:spcPct val="90000"/>
            </a:lnSpc>
            <a:spcBef>
              <a:spcPct val="0"/>
            </a:spcBef>
            <a:spcAft>
              <a:spcPts val="600"/>
            </a:spcAft>
            <a:buClrTx/>
            <a:buSzTx/>
            <a:buFont typeface="Arial" panose="020B0604020202020204" pitchFamily="34" charset="0"/>
            <a:buNone/>
          </a:pPr>
          <a:r>
            <a:rPr lang="nl-NL" sz="800" kern="1200" dirty="0" smtClean="0"/>
            <a:t>Datawarehouse ingericht</a:t>
          </a:r>
          <a:endParaRPr lang="nl-NL" sz="800" kern="1200" dirty="0">
            <a:solidFill>
              <a:srgbClr val="C00000"/>
            </a:solidFill>
          </a:endParaRPr>
        </a:p>
      </dsp:txBody>
      <dsp:txXfrm>
        <a:off x="4029510" y="2008142"/>
        <a:ext cx="1549836" cy="737999"/>
      </dsp:txXfrm>
    </dsp:sp>
    <dsp:sp modelId="{0147A711-EAE7-444C-88B2-0E0CB88E6274}">
      <dsp:nvSpPr>
        <dsp:cNvPr id="0" name=""/>
        <dsp:cNvSpPr/>
      </dsp:nvSpPr>
      <dsp:spPr>
        <a:xfrm>
          <a:off x="5681162" y="2008142"/>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Data virtualisatie implementeren</a:t>
          </a:r>
          <a:endParaRPr lang="nl-NL" sz="900" kern="1200" dirty="0"/>
        </a:p>
      </dsp:txBody>
      <dsp:txXfrm>
        <a:off x="6050162" y="2008142"/>
        <a:ext cx="1549836" cy="737999"/>
      </dsp:txXfrm>
    </dsp:sp>
    <dsp:sp modelId="{9FA528D7-26AC-4E04-B14F-E0155359DB2B}">
      <dsp:nvSpPr>
        <dsp:cNvPr id="0" name=""/>
        <dsp:cNvSpPr/>
      </dsp:nvSpPr>
      <dsp:spPr>
        <a:xfrm>
          <a:off x="7701814" y="2008142"/>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Data </a:t>
          </a:r>
          <a:r>
            <a:rPr lang="nl-NL" sz="900" kern="1200" dirty="0" err="1" smtClean="0"/>
            <a:t>lake</a:t>
          </a:r>
          <a:r>
            <a:rPr lang="nl-NL" sz="900" kern="1200" dirty="0" smtClean="0"/>
            <a:t> implementeren</a:t>
          </a:r>
          <a:endParaRPr lang="nl-NL" sz="900" kern="1200" dirty="0"/>
        </a:p>
      </dsp:txBody>
      <dsp:txXfrm>
        <a:off x="8070814" y="2008142"/>
        <a:ext cx="1549836" cy="737999"/>
      </dsp:txXfrm>
    </dsp:sp>
    <dsp:sp modelId="{6E216FF8-2780-4ABE-969B-CDD8F6583DDC}">
      <dsp:nvSpPr>
        <dsp:cNvPr id="0" name=""/>
        <dsp:cNvSpPr/>
      </dsp:nvSpPr>
      <dsp:spPr>
        <a:xfrm>
          <a:off x="9722466" y="2008142"/>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10091466" y="2008142"/>
        <a:ext cx="1549836" cy="737999"/>
      </dsp:txXfrm>
    </dsp:sp>
    <dsp:sp modelId="{485A7BA8-4B01-4F03-9FEA-3F36F66E18BF}">
      <dsp:nvSpPr>
        <dsp:cNvPr id="0" name=""/>
        <dsp:cNvSpPr/>
      </dsp:nvSpPr>
      <dsp:spPr>
        <a:xfrm>
          <a:off x="2588" y="2874906"/>
          <a:ext cx="1809490" cy="73799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smtClean="0">
              <a:solidFill>
                <a:schemeClr val="bg1"/>
              </a:solidFill>
            </a:rPr>
            <a:t>Ondersteunen processen</a:t>
          </a:r>
          <a:endParaRPr lang="nl-NL" sz="800" kern="1200" dirty="0">
            <a:solidFill>
              <a:schemeClr val="bg1"/>
            </a:solidFill>
          </a:endParaRPr>
        </a:p>
      </dsp:txBody>
      <dsp:txXfrm>
        <a:off x="371586" y="2874906"/>
        <a:ext cx="1071494" cy="737996"/>
      </dsp:txXfrm>
    </dsp:sp>
    <dsp:sp modelId="{A21599CC-FDF9-4BEE-94FB-C6E87C0708EC}">
      <dsp:nvSpPr>
        <dsp:cNvPr id="0" name=""/>
        <dsp:cNvSpPr/>
      </dsp:nvSpPr>
      <dsp:spPr>
        <a:xfrm>
          <a:off x="1542936" y="2874905"/>
          <a:ext cx="2153805" cy="737999"/>
        </a:xfrm>
        <a:prstGeom prst="chevron">
          <a:avLst/>
        </a:prstGeom>
        <a:solidFill>
          <a:schemeClr val="accent1">
            <a:lumMod val="90000"/>
          </a:schemeClr>
        </a:solidFill>
        <a:ln w="254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smtClean="0">
              <a:solidFill>
                <a:schemeClr val="tx1"/>
              </a:solidFill>
            </a:rPr>
            <a:t>RPA </a:t>
          </a:r>
          <a:r>
            <a:rPr lang="nl-NL" sz="800" kern="1200" dirty="0" err="1" smtClean="0">
              <a:solidFill>
                <a:schemeClr val="tx1"/>
              </a:solidFill>
            </a:rPr>
            <a:t>Poc</a:t>
          </a:r>
          <a:r>
            <a:rPr lang="nl-NL" sz="800" kern="1200" dirty="0" smtClean="0">
              <a:solidFill>
                <a:schemeClr val="tx1"/>
              </a:solidFill>
            </a:rPr>
            <a:t> en </a:t>
          </a:r>
          <a:r>
            <a:rPr lang="nl-NL" sz="800" kern="1200" dirty="0" err="1" smtClean="0">
              <a:solidFill>
                <a:schemeClr val="tx1"/>
              </a:solidFill>
            </a:rPr>
            <a:t>evt</a:t>
          </a:r>
          <a:r>
            <a:rPr lang="nl-NL" sz="800" kern="1200" dirty="0" smtClean="0">
              <a:solidFill>
                <a:schemeClr val="tx1"/>
              </a:solidFill>
            </a:rPr>
            <a:t> start verdere uitrol</a:t>
          </a:r>
        </a:p>
        <a:p>
          <a:pPr lvl="0" algn="ctr" defTabSz="355600">
            <a:lnSpc>
              <a:spcPct val="90000"/>
            </a:lnSpc>
            <a:spcBef>
              <a:spcPct val="0"/>
            </a:spcBef>
            <a:spcAft>
              <a:spcPct val="35000"/>
            </a:spcAft>
          </a:pPr>
          <a:r>
            <a:rPr lang="nl-NL" sz="800" kern="1200" dirty="0" smtClean="0">
              <a:solidFill>
                <a:schemeClr val="tx1"/>
              </a:solidFill>
            </a:rPr>
            <a:t>Procesbeheer optimaliseren</a:t>
          </a:r>
          <a:endParaRPr lang="nl-NL" sz="800" kern="1200" dirty="0">
            <a:solidFill>
              <a:schemeClr val="tx1"/>
            </a:solidFill>
          </a:endParaRPr>
        </a:p>
      </dsp:txBody>
      <dsp:txXfrm>
        <a:off x="1911936" y="2874905"/>
        <a:ext cx="1415806" cy="737999"/>
      </dsp:txXfrm>
    </dsp:sp>
    <dsp:sp modelId="{3888236F-2F44-48D5-A5C6-DABD9C06C8CC}">
      <dsp:nvSpPr>
        <dsp:cNvPr id="0" name=""/>
        <dsp:cNvSpPr/>
      </dsp:nvSpPr>
      <dsp:spPr>
        <a:xfrm>
          <a:off x="3509387" y="2894753"/>
          <a:ext cx="2457363" cy="737999"/>
        </a:xfrm>
        <a:prstGeom prst="chevron">
          <a:avLst/>
        </a:prstGeom>
        <a:solidFill>
          <a:srgbClr val="E7F3F4"/>
        </a:solidFill>
        <a:ln w="25400" cap="flat" cmpd="sng" algn="ctr">
          <a:solidFill>
            <a:srgbClr val="E7F3F4"/>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smtClean="0">
              <a:solidFill>
                <a:schemeClr val="tx1"/>
              </a:solidFill>
            </a:rPr>
            <a:t>Straight Through Processing optimaliseren</a:t>
          </a:r>
          <a:endParaRPr lang="nl-NL" sz="800" kern="1200" dirty="0">
            <a:solidFill>
              <a:schemeClr val="tx1"/>
            </a:solidFill>
          </a:endParaRPr>
        </a:p>
      </dsp:txBody>
      <dsp:txXfrm>
        <a:off x="3878387" y="2894753"/>
        <a:ext cx="1719364" cy="737999"/>
      </dsp:txXfrm>
    </dsp:sp>
    <dsp:sp modelId="{5AF84740-819D-449D-97C7-EAE98E98E081}">
      <dsp:nvSpPr>
        <dsp:cNvPr id="0" name=""/>
        <dsp:cNvSpPr/>
      </dsp:nvSpPr>
      <dsp:spPr>
        <a:xfrm>
          <a:off x="5778506" y="2874905"/>
          <a:ext cx="2155637" cy="737999"/>
        </a:xfrm>
        <a:prstGeom prst="chevron">
          <a:avLst/>
        </a:prstGeom>
        <a:solidFill>
          <a:srgbClr val="E7F3F4"/>
        </a:solidFill>
        <a:ln w="25400" cap="flat" cmpd="sng" algn="ctr">
          <a:solidFill>
            <a:srgbClr val="E7F3F4"/>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endParaRPr lang="nl-NL" sz="1000" kern="1200" dirty="0">
            <a:solidFill>
              <a:schemeClr val="bg1"/>
            </a:solidFill>
          </a:endParaRPr>
        </a:p>
      </dsp:txBody>
      <dsp:txXfrm>
        <a:off x="6147506" y="2874905"/>
        <a:ext cx="1417638" cy="737999"/>
      </dsp:txXfrm>
    </dsp:sp>
    <dsp:sp modelId="{6D5874A7-055E-4F9A-B66C-41C76E99E891}">
      <dsp:nvSpPr>
        <dsp:cNvPr id="0" name=""/>
        <dsp:cNvSpPr/>
      </dsp:nvSpPr>
      <dsp:spPr>
        <a:xfrm>
          <a:off x="7757454" y="2904684"/>
          <a:ext cx="2137831" cy="737999"/>
        </a:xfrm>
        <a:prstGeom prst="chevron">
          <a:avLst/>
        </a:prstGeom>
        <a:solidFill>
          <a:srgbClr val="E7F3F4"/>
        </a:solidFill>
        <a:ln w="25400" cap="flat" cmpd="sng" algn="ctr">
          <a:solidFill>
            <a:srgbClr val="E7F3F4"/>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endParaRPr lang="nl-NL" sz="1000" kern="1200" dirty="0">
            <a:solidFill>
              <a:schemeClr val="bg1"/>
            </a:solidFill>
          </a:endParaRPr>
        </a:p>
      </dsp:txBody>
      <dsp:txXfrm>
        <a:off x="8126454" y="2904684"/>
        <a:ext cx="1399832" cy="737999"/>
      </dsp:txXfrm>
    </dsp:sp>
    <dsp:sp modelId="{9CC83299-14B0-40DD-9F7A-7FBAE486816D}">
      <dsp:nvSpPr>
        <dsp:cNvPr id="0" name=""/>
        <dsp:cNvSpPr/>
      </dsp:nvSpPr>
      <dsp:spPr>
        <a:xfrm>
          <a:off x="9735033" y="2884730"/>
          <a:ext cx="2203634" cy="737999"/>
        </a:xfrm>
        <a:prstGeom prst="chevron">
          <a:avLst/>
        </a:prstGeom>
        <a:solidFill>
          <a:srgbClr val="E7F3F4"/>
        </a:solidFill>
        <a:ln w="25400" cap="flat" cmpd="sng" algn="ctr">
          <a:solidFill>
            <a:srgbClr val="E7F3F4"/>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endParaRPr lang="nl-NL" sz="1000" kern="1200" dirty="0">
            <a:solidFill>
              <a:schemeClr val="bg1"/>
            </a:solidFill>
          </a:endParaRPr>
        </a:p>
      </dsp:txBody>
      <dsp:txXfrm>
        <a:off x="10104033" y="2884730"/>
        <a:ext cx="1465635" cy="737999"/>
      </dsp:txXfrm>
    </dsp:sp>
    <dsp:sp modelId="{01295B02-5629-4790-BB4D-A7650C590746}">
      <dsp:nvSpPr>
        <dsp:cNvPr id="0" name=""/>
        <dsp:cNvSpPr/>
      </dsp:nvSpPr>
      <dsp:spPr>
        <a:xfrm>
          <a:off x="2588" y="3741668"/>
          <a:ext cx="1936184" cy="73799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smtClean="0">
              <a:solidFill>
                <a:schemeClr val="bg1"/>
              </a:solidFill>
            </a:rPr>
            <a:t>Data </a:t>
          </a:r>
          <a:r>
            <a:rPr lang="nl-NL" sz="1000" kern="1200" dirty="0" err="1" smtClean="0">
              <a:solidFill>
                <a:schemeClr val="bg1"/>
              </a:solidFill>
            </a:rPr>
            <a:t>analytics</a:t>
          </a:r>
          <a:r>
            <a:rPr lang="nl-NL" sz="1000" kern="1200" dirty="0" smtClean="0">
              <a:solidFill>
                <a:schemeClr val="bg1"/>
              </a:solidFill>
            </a:rPr>
            <a:t> &amp; </a:t>
          </a:r>
          <a:r>
            <a:rPr lang="nl-NL" sz="1000" kern="1200" dirty="0" err="1" smtClean="0">
              <a:solidFill>
                <a:schemeClr val="bg1"/>
              </a:solidFill>
            </a:rPr>
            <a:t>science</a:t>
          </a:r>
          <a:endParaRPr lang="nl-NL" sz="1000" kern="1200" dirty="0">
            <a:solidFill>
              <a:schemeClr val="bg1"/>
            </a:solidFill>
          </a:endParaRPr>
        </a:p>
      </dsp:txBody>
      <dsp:txXfrm>
        <a:off x="371586" y="3741668"/>
        <a:ext cx="1198188" cy="737996"/>
      </dsp:txXfrm>
    </dsp:sp>
    <dsp:sp modelId="{6EF753EC-17CD-46A6-81D5-6C737C6C4D8F}">
      <dsp:nvSpPr>
        <dsp:cNvPr id="0" name=""/>
        <dsp:cNvSpPr/>
      </dsp:nvSpPr>
      <dsp:spPr>
        <a:xfrm>
          <a:off x="1639858" y="3741667"/>
          <a:ext cx="2068344" cy="737999"/>
        </a:xfrm>
        <a:prstGeom prst="chevron">
          <a:avLst/>
        </a:prstGeom>
        <a:solidFill>
          <a:schemeClr val="accent1">
            <a:lumMod val="90000"/>
          </a:schemeClr>
        </a:solidFill>
        <a:ln w="254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smtClean="0"/>
            <a:t>Power </a:t>
          </a:r>
          <a:r>
            <a:rPr lang="nl-NL" sz="800" kern="1200" dirty="0"/>
            <a:t>BI </a:t>
          </a:r>
          <a:r>
            <a:rPr lang="nl-NL" sz="800" kern="1200" dirty="0" smtClean="0"/>
            <a:t>verder uitrollen</a:t>
          </a:r>
          <a:endParaRPr lang="nl-NL" sz="800" kern="1200" dirty="0"/>
        </a:p>
      </dsp:txBody>
      <dsp:txXfrm>
        <a:off x="2008858" y="3741667"/>
        <a:ext cx="1330345" cy="737999"/>
      </dsp:txXfrm>
    </dsp:sp>
    <dsp:sp modelId="{63D44174-705A-471D-8957-98F128C02313}">
      <dsp:nvSpPr>
        <dsp:cNvPr id="0" name=""/>
        <dsp:cNvSpPr/>
      </dsp:nvSpPr>
      <dsp:spPr>
        <a:xfrm>
          <a:off x="3441018" y="3741667"/>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kern="1200" dirty="0" smtClean="0"/>
            <a:t>Power BI volledig geïmplementeerd</a:t>
          </a:r>
        </a:p>
      </dsp:txBody>
      <dsp:txXfrm>
        <a:off x="3810018" y="3741667"/>
        <a:ext cx="1549836" cy="737999"/>
      </dsp:txXfrm>
    </dsp:sp>
    <dsp:sp modelId="{A7989C51-1EF4-4500-81D6-6D719DDD68D0}">
      <dsp:nvSpPr>
        <dsp:cNvPr id="0" name=""/>
        <dsp:cNvSpPr/>
      </dsp:nvSpPr>
      <dsp:spPr>
        <a:xfrm>
          <a:off x="5461671" y="3741667"/>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a:t>
          </a:r>
          <a:endParaRPr lang="nl-NL" sz="900" kern="1200" dirty="0"/>
        </a:p>
      </dsp:txBody>
      <dsp:txXfrm>
        <a:off x="5830671" y="3741667"/>
        <a:ext cx="1549836" cy="737999"/>
      </dsp:txXfrm>
    </dsp:sp>
    <dsp:sp modelId="{A13861A0-3C4D-407A-AD33-595EDBF2F097}">
      <dsp:nvSpPr>
        <dsp:cNvPr id="0" name=""/>
        <dsp:cNvSpPr/>
      </dsp:nvSpPr>
      <dsp:spPr>
        <a:xfrm>
          <a:off x="7482323" y="3741667"/>
          <a:ext cx="2287835"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a:t>
          </a:r>
          <a:endParaRPr lang="nl-NL" sz="900" kern="1200" dirty="0"/>
        </a:p>
      </dsp:txBody>
      <dsp:txXfrm>
        <a:off x="7851323" y="3741667"/>
        <a:ext cx="1549836" cy="737999"/>
      </dsp:txXfrm>
    </dsp:sp>
    <dsp:sp modelId="{0EE2C3EC-54D5-48DD-BB5E-1E84B5C6767E}">
      <dsp:nvSpPr>
        <dsp:cNvPr id="0" name=""/>
        <dsp:cNvSpPr/>
      </dsp:nvSpPr>
      <dsp:spPr>
        <a:xfrm>
          <a:off x="9502975" y="3741667"/>
          <a:ext cx="2287034" cy="73799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dsp:txBody>
      <dsp:txXfrm>
        <a:off x="9871975" y="3741667"/>
        <a:ext cx="1549035" cy="7379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04653-AC57-46CE-A503-3CBBAD1D7D39}">
      <dsp:nvSpPr>
        <dsp:cNvPr id="0" name=""/>
        <dsp:cNvSpPr/>
      </dsp:nvSpPr>
      <dsp:spPr>
        <a:xfrm>
          <a:off x="2588" y="228913"/>
          <a:ext cx="1936184" cy="91973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Architectuur</a:t>
          </a:r>
        </a:p>
      </dsp:txBody>
      <dsp:txXfrm>
        <a:off x="462456" y="228913"/>
        <a:ext cx="1016448" cy="919736"/>
      </dsp:txXfrm>
    </dsp:sp>
    <dsp:sp modelId="{9E6C8AC0-5D21-43F3-83C4-CC1B7203E690}">
      <dsp:nvSpPr>
        <dsp:cNvPr id="0" name=""/>
        <dsp:cNvSpPr/>
      </dsp:nvSpPr>
      <dsp:spPr>
        <a:xfrm>
          <a:off x="1639858" y="2303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Font typeface="+mj-lt"/>
            <a:buNone/>
          </a:pPr>
          <a:r>
            <a:rPr lang="nl-NL" sz="900" kern="1200"/>
            <a:t>Architectuurproducten &amp; -proces op orde</a:t>
          </a:r>
        </a:p>
        <a:p>
          <a:pPr marL="0" lvl="0" indent="0" algn="ctr" defTabSz="400050">
            <a:lnSpc>
              <a:spcPct val="90000"/>
            </a:lnSpc>
            <a:spcBef>
              <a:spcPct val="0"/>
            </a:spcBef>
            <a:spcAft>
              <a:spcPct val="35000"/>
            </a:spcAft>
            <a:buFont typeface="+mj-lt"/>
            <a:buNone/>
          </a:pPr>
          <a:r>
            <a:rPr lang="nl-NL" sz="900" kern="1200"/>
            <a:t>Enterprise &amp; domein-architectuur van primaire proces</a:t>
          </a:r>
          <a:endParaRPr lang="nl-NL" sz="900" kern="1200">
            <a:solidFill>
              <a:schemeClr val="tx1"/>
            </a:solidFill>
          </a:endParaRPr>
        </a:p>
      </dsp:txBody>
      <dsp:txXfrm>
        <a:off x="2098250" y="230390"/>
        <a:ext cx="1371052" cy="916783"/>
      </dsp:txXfrm>
    </dsp:sp>
    <dsp:sp modelId="{5F155100-7715-4A17-90EE-690DB2345E60}">
      <dsp:nvSpPr>
        <dsp:cNvPr id="0" name=""/>
        <dsp:cNvSpPr/>
      </dsp:nvSpPr>
      <dsp:spPr>
        <a:xfrm>
          <a:off x="3660510"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Font typeface="+mj-lt"/>
            <a:buAutoNum type="alphaLcParenR" startAt="3"/>
          </a:pPr>
          <a:r>
            <a:rPr lang="nl-NL" sz="900" kern="1200">
              <a:solidFill>
                <a:schemeClr val="tx1"/>
              </a:solidFill>
            </a:rPr>
            <a:t>Interne capaciteit architecten</a:t>
          </a:r>
        </a:p>
        <a:p>
          <a:pPr lvl="0" algn="ctr" defTabSz="400050">
            <a:lnSpc>
              <a:spcPct val="90000"/>
            </a:lnSpc>
            <a:spcBef>
              <a:spcPct val="0"/>
            </a:spcBef>
            <a:spcAft>
              <a:spcPts val="600"/>
            </a:spcAft>
            <a:buFont typeface="+mj-lt"/>
            <a:buAutoNum type="alphaLcParenR" startAt="3"/>
          </a:pPr>
          <a:r>
            <a:rPr lang="nl-NL" sz="900" kern="1200">
              <a:solidFill>
                <a:schemeClr val="tx1"/>
              </a:solidFill>
            </a:rPr>
            <a:t>Architectuurbewustzijn gehele organisatie </a:t>
          </a:r>
        </a:p>
        <a:p>
          <a:pPr lvl="0" algn="ctr" defTabSz="400050">
            <a:lnSpc>
              <a:spcPct val="90000"/>
            </a:lnSpc>
            <a:spcBef>
              <a:spcPct val="0"/>
            </a:spcBef>
            <a:spcAft>
              <a:spcPts val="600"/>
            </a:spcAft>
            <a:buFont typeface="+mj-lt"/>
            <a:buAutoNum type="alphaLcParenR" startAt="3"/>
          </a:pPr>
          <a:r>
            <a:rPr lang="nl-NL" sz="900" kern="1200">
              <a:solidFill>
                <a:schemeClr val="tx1"/>
              </a:solidFill>
            </a:rPr>
            <a:t>Alle domein-architecturen op orde</a:t>
          </a:r>
        </a:p>
      </dsp:txBody>
      <dsp:txXfrm>
        <a:off x="4118905" y="230386"/>
        <a:ext cx="1371045" cy="916790"/>
      </dsp:txXfrm>
    </dsp:sp>
    <dsp:sp modelId="{7BCA09AF-73D2-4619-A7A7-F58A620080A0}">
      <dsp:nvSpPr>
        <dsp:cNvPr id="0" name=""/>
        <dsp:cNvSpPr/>
      </dsp:nvSpPr>
      <dsp:spPr>
        <a:xfrm>
          <a:off x="5681162"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6139557" y="230386"/>
        <a:ext cx="1371045" cy="916790"/>
      </dsp:txXfrm>
    </dsp:sp>
    <dsp:sp modelId="{6F58A52D-AFF9-49F5-8538-1AB9A54C1571}">
      <dsp:nvSpPr>
        <dsp:cNvPr id="0" name=""/>
        <dsp:cNvSpPr/>
      </dsp:nvSpPr>
      <dsp:spPr>
        <a:xfrm>
          <a:off x="7701814"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160209" y="230386"/>
        <a:ext cx="1371045" cy="916790"/>
      </dsp:txXfrm>
    </dsp:sp>
    <dsp:sp modelId="{9DA68F1C-8A13-4764-9EED-8C5C1AC113E6}">
      <dsp:nvSpPr>
        <dsp:cNvPr id="0" name=""/>
        <dsp:cNvSpPr/>
      </dsp:nvSpPr>
      <dsp:spPr>
        <a:xfrm>
          <a:off x="9722466" y="230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230386"/>
        <a:ext cx="1371045" cy="916790"/>
      </dsp:txXfrm>
    </dsp:sp>
    <dsp:sp modelId="{45A1425D-2946-43E1-B1EC-77043B192449}">
      <dsp:nvSpPr>
        <dsp:cNvPr id="0" name=""/>
        <dsp:cNvSpPr/>
      </dsp:nvSpPr>
      <dsp:spPr>
        <a:xfrm>
          <a:off x="2588" y="12774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IBP</a:t>
          </a:r>
        </a:p>
      </dsp:txBody>
      <dsp:txXfrm>
        <a:off x="462456" y="1277413"/>
        <a:ext cx="1016448" cy="919736"/>
      </dsp:txXfrm>
    </dsp:sp>
    <dsp:sp modelId="{050DB05E-783F-4CCF-9747-F95A7E32D478}">
      <dsp:nvSpPr>
        <dsp:cNvPr id="0" name=""/>
        <dsp:cNvSpPr/>
      </dsp:nvSpPr>
      <dsp:spPr>
        <a:xfrm>
          <a:off x="1639858" y="12788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ClrTx/>
            <a:buSzTx/>
            <a:buFont typeface="+mj-lt"/>
            <a:buAutoNum type="alphaLcParenR"/>
          </a:pPr>
          <a:r>
            <a:rPr lang="nl-NL" sz="900" kern="1200"/>
            <a:t>Gezamenlijk IBP Beleid opgesteld</a:t>
          </a:r>
        </a:p>
        <a:p>
          <a:pPr lvl="0" algn="ctr" defTabSz="400050">
            <a:lnSpc>
              <a:spcPct val="90000"/>
            </a:lnSpc>
            <a:spcBef>
              <a:spcPct val="0"/>
            </a:spcBef>
            <a:spcAft>
              <a:spcPct val="35000"/>
            </a:spcAft>
            <a:buClrTx/>
            <a:buSzTx/>
            <a:buFont typeface="+mj-lt"/>
            <a:buAutoNum type="alphaLcParenR"/>
          </a:pPr>
          <a:r>
            <a:rPr lang="nl-NL" sz="900" kern="1200"/>
            <a:t>Risicomanagement ingericht</a:t>
          </a:r>
        </a:p>
      </dsp:txBody>
      <dsp:txXfrm>
        <a:off x="2098250" y="1278890"/>
        <a:ext cx="1371052" cy="916783"/>
      </dsp:txXfrm>
    </dsp:sp>
    <dsp:sp modelId="{EE523708-1E1B-4AAA-A918-8F0DB46124F9}">
      <dsp:nvSpPr>
        <dsp:cNvPr id="0" name=""/>
        <dsp:cNvSpPr/>
      </dsp:nvSpPr>
      <dsp:spPr>
        <a:xfrm>
          <a:off x="3660510"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Font typeface="+mj-lt"/>
            <a:buAutoNum type="alphaLcParenR" startAt="2"/>
          </a:pPr>
          <a:r>
            <a:rPr lang="nl-NL" sz="900" kern="1200"/>
            <a:t>IBP geïntegreerd en geïmplementeerd</a:t>
          </a:r>
        </a:p>
        <a:p>
          <a:pPr lvl="0" algn="ctr" defTabSz="400050">
            <a:lnSpc>
              <a:spcPct val="90000"/>
            </a:lnSpc>
            <a:spcBef>
              <a:spcPct val="0"/>
            </a:spcBef>
            <a:spcAft>
              <a:spcPts val="600"/>
            </a:spcAft>
            <a:buFont typeface="+mj-lt"/>
            <a:buAutoNum type="alphaLcParenR" startAt="2"/>
          </a:pPr>
          <a:r>
            <a:rPr lang="nl-NL" sz="900" kern="1200"/>
            <a:t>BCM plan en beleid</a:t>
          </a:r>
          <a:endParaRPr lang="nl-NL" sz="900" kern="1200">
            <a:solidFill>
              <a:srgbClr val="C00000"/>
            </a:solidFill>
          </a:endParaRPr>
        </a:p>
      </dsp:txBody>
      <dsp:txXfrm>
        <a:off x="4118905" y="1278886"/>
        <a:ext cx="1371045" cy="916790"/>
      </dsp:txXfrm>
    </dsp:sp>
    <dsp:sp modelId="{87B307EE-F7E3-478C-99DF-363D7920F82C}">
      <dsp:nvSpPr>
        <dsp:cNvPr id="0" name=""/>
        <dsp:cNvSpPr/>
      </dsp:nvSpPr>
      <dsp:spPr>
        <a:xfrm>
          <a:off x="5681162"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BCM op orde en geïntegreerd </a:t>
          </a:r>
        </a:p>
      </dsp:txBody>
      <dsp:txXfrm>
        <a:off x="6139557" y="1278886"/>
        <a:ext cx="1371045" cy="916790"/>
      </dsp:txXfrm>
    </dsp:sp>
    <dsp:sp modelId="{CED8139D-1618-489C-91A6-6B435D2A051E}">
      <dsp:nvSpPr>
        <dsp:cNvPr id="0" name=""/>
        <dsp:cNvSpPr/>
      </dsp:nvSpPr>
      <dsp:spPr>
        <a:xfrm>
          <a:off x="7701814"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160209" y="1278886"/>
        <a:ext cx="1371045" cy="916790"/>
      </dsp:txXfrm>
    </dsp:sp>
    <dsp:sp modelId="{76A59E32-1369-43F3-BA20-12EAEE339E49}">
      <dsp:nvSpPr>
        <dsp:cNvPr id="0" name=""/>
        <dsp:cNvSpPr/>
      </dsp:nvSpPr>
      <dsp:spPr>
        <a:xfrm>
          <a:off x="9722466" y="1278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1278886"/>
        <a:ext cx="1371045" cy="916790"/>
      </dsp:txXfrm>
    </dsp:sp>
    <dsp:sp modelId="{AC514612-8832-4B0F-86D0-3200CCE54AE0}">
      <dsp:nvSpPr>
        <dsp:cNvPr id="0" name=""/>
        <dsp:cNvSpPr/>
      </dsp:nvSpPr>
      <dsp:spPr>
        <a:xfrm>
          <a:off x="2588" y="23259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Modernisering</a:t>
          </a:r>
        </a:p>
      </dsp:txBody>
      <dsp:txXfrm>
        <a:off x="462456" y="2325913"/>
        <a:ext cx="1016448" cy="919736"/>
      </dsp:txXfrm>
    </dsp:sp>
    <dsp:sp modelId="{F6BDEFCB-7EF5-4C67-9CC3-C8A5F8837BEC}">
      <dsp:nvSpPr>
        <dsp:cNvPr id="0" name=""/>
        <dsp:cNvSpPr/>
      </dsp:nvSpPr>
      <dsp:spPr>
        <a:xfrm>
          <a:off x="1639858" y="23273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Font typeface="Arial" panose="020B0604020202020204" pitchFamily="34" charset="0"/>
            <a:buChar char="•"/>
          </a:pPr>
          <a:r>
            <a:rPr lang="nl-NL" sz="900" kern="1200"/>
            <a:t>Europese Aanbesteding nieuwbouw websites en beheer</a:t>
          </a:r>
        </a:p>
        <a:p>
          <a:pPr lvl="0" algn="ctr" defTabSz="400050">
            <a:lnSpc>
              <a:spcPct val="90000"/>
            </a:lnSpc>
            <a:spcBef>
              <a:spcPct val="0"/>
            </a:spcBef>
            <a:spcAft>
              <a:spcPts val="600"/>
            </a:spcAft>
            <a:buFont typeface="Arial" panose="020B0604020202020204" pitchFamily="34" charset="0"/>
            <a:buChar char="•"/>
          </a:pPr>
          <a:r>
            <a:rPr lang="nl-NL" sz="900" kern="1200"/>
            <a:t>Europese Aanbesteding voor ICT-componenten</a:t>
          </a:r>
        </a:p>
        <a:p>
          <a:pPr lvl="0" algn="ctr" defTabSz="400050">
            <a:lnSpc>
              <a:spcPct val="90000"/>
            </a:lnSpc>
            <a:spcBef>
              <a:spcPct val="0"/>
            </a:spcBef>
            <a:spcAft>
              <a:spcPts val="600"/>
            </a:spcAft>
            <a:buFont typeface="Arial" panose="020B0604020202020204" pitchFamily="34" charset="0"/>
            <a:buChar char="•"/>
          </a:pPr>
          <a:r>
            <a:rPr lang="nl-NL" sz="900" kern="1200"/>
            <a:t>Quartz Wbtv</a:t>
          </a:r>
        </a:p>
      </dsp:txBody>
      <dsp:txXfrm>
        <a:off x="2098250" y="2327390"/>
        <a:ext cx="1371052" cy="916783"/>
      </dsp:txXfrm>
    </dsp:sp>
    <dsp:sp modelId="{58186B43-07B2-485C-BAFC-A38A2D2CA252}">
      <dsp:nvSpPr>
        <dsp:cNvPr id="0" name=""/>
        <dsp:cNvSpPr/>
      </dsp:nvSpPr>
      <dsp:spPr>
        <a:xfrm>
          <a:off x="3660510"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buClrTx/>
            <a:buSzTx/>
            <a:buFont typeface="Arial" panose="020B0604020202020204" pitchFamily="34" charset="0"/>
            <a:buChar char="•"/>
          </a:pPr>
          <a:r>
            <a:rPr lang="nl-NL" sz="900" kern="1200"/>
            <a:t>RBV-portaal bouwen</a:t>
          </a:r>
        </a:p>
        <a:p>
          <a:pPr lvl="0" algn="ctr" defTabSz="400050">
            <a:lnSpc>
              <a:spcPct val="90000"/>
            </a:lnSpc>
            <a:spcBef>
              <a:spcPct val="0"/>
            </a:spcBef>
            <a:spcAft>
              <a:spcPts val="600"/>
            </a:spcAft>
            <a:buClrTx/>
            <a:buSzTx/>
            <a:buFont typeface="Arial" panose="020B0604020202020204" pitchFamily="34" charset="0"/>
            <a:buChar char="•"/>
          </a:pPr>
          <a:r>
            <a:rPr lang="nl-NL" sz="900" kern="1200"/>
            <a:t>Websites bouwen</a:t>
          </a:r>
        </a:p>
        <a:p>
          <a:pPr lvl="0" algn="ctr" defTabSz="400050">
            <a:lnSpc>
              <a:spcPct val="90000"/>
            </a:lnSpc>
            <a:spcBef>
              <a:spcPct val="0"/>
            </a:spcBef>
            <a:spcAft>
              <a:spcPts val="600"/>
            </a:spcAft>
            <a:buClrTx/>
            <a:buSzTx/>
            <a:buFont typeface="Arial" panose="020B0604020202020204" pitchFamily="34" charset="0"/>
            <a:buChar char="•"/>
          </a:pPr>
          <a:r>
            <a:rPr lang="nl-NL" sz="900" kern="1200"/>
            <a:t>Piketapplicatie realiseren</a:t>
          </a:r>
          <a:endParaRPr lang="nl-NL" sz="900" kern="1200">
            <a:solidFill>
              <a:srgbClr val="C00000"/>
            </a:solidFill>
          </a:endParaRPr>
        </a:p>
      </dsp:txBody>
      <dsp:txXfrm>
        <a:off x="4118905" y="2327386"/>
        <a:ext cx="1371045" cy="916790"/>
      </dsp:txXfrm>
    </dsp:sp>
    <dsp:sp modelId="{0147A711-EAE7-444C-88B2-0E0CB88E6274}">
      <dsp:nvSpPr>
        <dsp:cNvPr id="0" name=""/>
        <dsp:cNvSpPr/>
      </dsp:nvSpPr>
      <dsp:spPr>
        <a:xfrm>
          <a:off x="5681162"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pPr>
          <a:r>
            <a:rPr lang="nl-NL" sz="900" kern="1200"/>
            <a:t>Oude </a:t>
          </a:r>
          <a:r>
            <a:rPr lang="nl-NL" sz="900" kern="1200" err="1"/>
            <a:t>MijnRvR</a:t>
          </a:r>
          <a:r>
            <a:rPr lang="nl-NL" sz="900" kern="1200"/>
            <a:t> </a:t>
          </a:r>
          <a:r>
            <a:rPr lang="nl-NL" sz="900" kern="1200" err="1"/>
            <a:t>uitfaseren</a:t>
          </a:r>
          <a:endParaRPr lang="nl-NL" sz="900" kern="1200"/>
        </a:p>
        <a:p>
          <a:pPr lvl="0" algn="ctr" defTabSz="400050">
            <a:lnSpc>
              <a:spcPct val="90000"/>
            </a:lnSpc>
            <a:spcBef>
              <a:spcPct val="0"/>
            </a:spcBef>
            <a:spcAft>
              <a:spcPts val="600"/>
            </a:spcAft>
          </a:pPr>
          <a:r>
            <a:rPr lang="nl-NL" sz="900" kern="1200"/>
            <a:t>Oude </a:t>
          </a:r>
          <a:r>
            <a:rPr lang="nl-NL" sz="900" kern="1200" err="1"/>
            <a:t>integratielaag</a:t>
          </a:r>
          <a:r>
            <a:rPr lang="nl-NL" sz="900" kern="1200"/>
            <a:t> en brieventool </a:t>
          </a:r>
          <a:r>
            <a:rPr lang="nl-NL" sz="900" kern="1200" err="1"/>
            <a:t>uitfaseren</a:t>
          </a:r>
          <a:endParaRPr lang="nl-NL" sz="900" kern="1200"/>
        </a:p>
      </dsp:txBody>
      <dsp:txXfrm>
        <a:off x="6139557" y="2327386"/>
        <a:ext cx="1371045" cy="916790"/>
      </dsp:txXfrm>
    </dsp:sp>
    <dsp:sp modelId="{9FA528D7-26AC-4E04-B14F-E0155359DB2B}">
      <dsp:nvSpPr>
        <dsp:cNvPr id="0" name=""/>
        <dsp:cNvSpPr/>
      </dsp:nvSpPr>
      <dsp:spPr>
        <a:xfrm>
          <a:off x="7701814"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Vervangen maatwerk database- en workflow-applicatie </a:t>
          </a:r>
        </a:p>
      </dsp:txBody>
      <dsp:txXfrm>
        <a:off x="8160209" y="2327386"/>
        <a:ext cx="1371045" cy="916790"/>
      </dsp:txXfrm>
    </dsp:sp>
    <dsp:sp modelId="{6E216FF8-2780-4ABE-969B-CDD8F6583DDC}">
      <dsp:nvSpPr>
        <dsp:cNvPr id="0" name=""/>
        <dsp:cNvSpPr/>
      </dsp:nvSpPr>
      <dsp:spPr>
        <a:xfrm>
          <a:off x="9722466" y="2327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2327386"/>
        <a:ext cx="1371045" cy="916790"/>
      </dsp:txXfrm>
    </dsp:sp>
    <dsp:sp modelId="{01295B02-5629-4790-BB4D-A7650C590746}">
      <dsp:nvSpPr>
        <dsp:cNvPr id="0" name=""/>
        <dsp:cNvSpPr/>
      </dsp:nvSpPr>
      <dsp:spPr>
        <a:xfrm>
          <a:off x="2588" y="33744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Digitalisering</a:t>
          </a:r>
        </a:p>
      </dsp:txBody>
      <dsp:txXfrm>
        <a:off x="462456" y="3374413"/>
        <a:ext cx="1016448" cy="919736"/>
      </dsp:txXfrm>
    </dsp:sp>
    <dsp:sp modelId="{6EF753EC-17CD-46A6-81D5-6C737C6C4D8F}">
      <dsp:nvSpPr>
        <dsp:cNvPr id="0" name=""/>
        <dsp:cNvSpPr/>
      </dsp:nvSpPr>
      <dsp:spPr>
        <a:xfrm>
          <a:off x="1639858" y="33758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Piketdeclaraties</a:t>
          </a:r>
        </a:p>
      </dsp:txBody>
      <dsp:txXfrm>
        <a:off x="2098250" y="3375890"/>
        <a:ext cx="1371052" cy="916783"/>
      </dsp:txXfrm>
    </dsp:sp>
    <dsp:sp modelId="{63D44174-705A-471D-8957-98F128C02313}">
      <dsp:nvSpPr>
        <dsp:cNvPr id="0" name=""/>
        <dsp:cNvSpPr/>
      </dsp:nvSpPr>
      <dsp:spPr>
        <a:xfrm>
          <a:off x="3660510"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pPr>
          <a:r>
            <a:rPr lang="nl-NL" sz="900" kern="1200" dirty="0" err="1"/>
            <a:t>Mediation</a:t>
          </a:r>
          <a:r>
            <a:rPr lang="nl-NL" sz="900" kern="1200" dirty="0"/>
            <a:t> proces</a:t>
          </a:r>
        </a:p>
        <a:p>
          <a:pPr lvl="0" algn="ctr" defTabSz="400050">
            <a:lnSpc>
              <a:spcPct val="90000"/>
            </a:lnSpc>
            <a:spcBef>
              <a:spcPct val="0"/>
            </a:spcBef>
            <a:spcAft>
              <a:spcPts val="600"/>
            </a:spcAft>
          </a:pPr>
          <a:r>
            <a:rPr lang="nl-NL" sz="900" kern="1200" dirty="0"/>
            <a:t>Beroep- &amp; bezwaarprocessen</a:t>
          </a:r>
        </a:p>
        <a:p>
          <a:pPr lvl="0" algn="ctr" defTabSz="400050">
            <a:lnSpc>
              <a:spcPct val="90000"/>
            </a:lnSpc>
            <a:spcBef>
              <a:spcPct val="0"/>
            </a:spcBef>
            <a:spcAft>
              <a:spcPts val="600"/>
            </a:spcAft>
          </a:pPr>
          <a:r>
            <a:rPr lang="nl-NL" sz="900" kern="1200" dirty="0"/>
            <a:t>Proces asielaanvragen</a:t>
          </a:r>
        </a:p>
        <a:p>
          <a:pPr lvl="0" algn="ctr" defTabSz="400050">
            <a:lnSpc>
              <a:spcPct val="90000"/>
            </a:lnSpc>
            <a:spcBef>
              <a:spcPct val="0"/>
            </a:spcBef>
            <a:spcAft>
              <a:spcPts val="600"/>
            </a:spcAft>
          </a:pPr>
          <a:r>
            <a:rPr lang="nl-NL" sz="900" kern="1200" dirty="0"/>
            <a:t>Toevoegen stukken aan dossier</a:t>
          </a:r>
        </a:p>
      </dsp:txBody>
      <dsp:txXfrm>
        <a:off x="4118905" y="3375886"/>
        <a:ext cx="1371045" cy="916790"/>
      </dsp:txXfrm>
    </dsp:sp>
    <dsp:sp modelId="{A7989C51-1EF4-4500-81D6-6D719DDD68D0}">
      <dsp:nvSpPr>
        <dsp:cNvPr id="0" name=""/>
        <dsp:cNvSpPr/>
      </dsp:nvSpPr>
      <dsp:spPr>
        <a:xfrm>
          <a:off x="5681162"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a:t>(Proces extra uren)</a:t>
          </a:r>
        </a:p>
        <a:p>
          <a:pPr lvl="0" algn="ctr" defTabSz="400050">
            <a:lnSpc>
              <a:spcPct val="90000"/>
            </a:lnSpc>
            <a:spcBef>
              <a:spcPct val="0"/>
            </a:spcBef>
            <a:spcAft>
              <a:spcPct val="35000"/>
            </a:spcAft>
          </a:pPr>
          <a:r>
            <a:rPr lang="nl-NL" sz="900" kern="1200"/>
            <a:t>Lasten proces</a:t>
          </a:r>
        </a:p>
      </dsp:txBody>
      <dsp:txXfrm>
        <a:off x="6139557" y="3375886"/>
        <a:ext cx="1371045" cy="916790"/>
      </dsp:txXfrm>
    </dsp:sp>
    <dsp:sp modelId="{A13861A0-3C4D-407A-AD33-595EDBF2F097}">
      <dsp:nvSpPr>
        <dsp:cNvPr id="0" name=""/>
        <dsp:cNvSpPr/>
      </dsp:nvSpPr>
      <dsp:spPr>
        <a:xfrm>
          <a:off x="7701814"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160209" y="3375886"/>
        <a:ext cx="1371045" cy="916790"/>
      </dsp:txXfrm>
    </dsp:sp>
    <dsp:sp modelId="{0EE2C3EC-54D5-48DD-BB5E-1E84B5C6767E}">
      <dsp:nvSpPr>
        <dsp:cNvPr id="0" name=""/>
        <dsp:cNvSpPr/>
      </dsp:nvSpPr>
      <dsp:spPr>
        <a:xfrm>
          <a:off x="9722466" y="33758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3375886"/>
        <a:ext cx="1371045" cy="916790"/>
      </dsp:txXfrm>
    </dsp:sp>
    <dsp:sp modelId="{369C16FF-CB50-4D98-9172-0EA7B2F7C0E9}">
      <dsp:nvSpPr>
        <dsp:cNvPr id="0" name=""/>
        <dsp:cNvSpPr/>
      </dsp:nvSpPr>
      <dsp:spPr>
        <a:xfrm>
          <a:off x="2588" y="4422913"/>
          <a:ext cx="1936184" cy="919736"/>
        </a:xfrm>
        <a:prstGeom prst="chevron">
          <a:avLst/>
        </a:prstGeom>
        <a:solidFill>
          <a:srgbClr val="C0000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a:solidFill>
                <a:schemeClr val="bg1"/>
              </a:solidFill>
            </a:rPr>
            <a:t>Organisatie</a:t>
          </a:r>
        </a:p>
      </dsp:txBody>
      <dsp:txXfrm>
        <a:off x="462456" y="4422913"/>
        <a:ext cx="1016448" cy="919736"/>
      </dsp:txXfrm>
    </dsp:sp>
    <dsp:sp modelId="{F9B40E24-8054-4554-8AF6-D6B681E13EA0}">
      <dsp:nvSpPr>
        <dsp:cNvPr id="0" name=""/>
        <dsp:cNvSpPr/>
      </dsp:nvSpPr>
      <dsp:spPr>
        <a:xfrm>
          <a:off x="1639858" y="4424390"/>
          <a:ext cx="2287835" cy="916783"/>
        </a:xfrm>
        <a:prstGeom prst="chevron">
          <a:avLst/>
        </a:prstGeom>
        <a:solidFill>
          <a:schemeClr val="accent1">
            <a:lumMod val="9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ts val="400"/>
            </a:spcAft>
          </a:pPr>
          <a:r>
            <a:rPr lang="nl-NL" sz="900" kern="1200"/>
            <a:t>Inrichting (ICT) Portfoliomanagement</a:t>
          </a:r>
        </a:p>
        <a:p>
          <a:pPr lvl="0" algn="ctr" defTabSz="400050">
            <a:lnSpc>
              <a:spcPct val="90000"/>
            </a:lnSpc>
            <a:spcBef>
              <a:spcPct val="0"/>
            </a:spcBef>
            <a:spcAft>
              <a:spcPts val="400"/>
            </a:spcAft>
          </a:pPr>
          <a:r>
            <a:rPr lang="nl-NL" sz="900" kern="1200"/>
            <a:t>Inrichting CIO Office</a:t>
          </a:r>
        </a:p>
        <a:p>
          <a:pPr lvl="0" algn="ctr" defTabSz="400050">
            <a:lnSpc>
              <a:spcPct val="90000"/>
            </a:lnSpc>
            <a:spcBef>
              <a:spcPct val="0"/>
            </a:spcBef>
            <a:spcAft>
              <a:spcPts val="400"/>
            </a:spcAft>
          </a:pPr>
          <a:r>
            <a:rPr lang="nl-NL" sz="900" kern="1200"/>
            <a:t>Professionalisering IM-organisatie</a:t>
          </a:r>
        </a:p>
        <a:p>
          <a:pPr lvl="0" algn="ctr" defTabSz="400050">
            <a:lnSpc>
              <a:spcPct val="90000"/>
            </a:lnSpc>
            <a:spcBef>
              <a:spcPct val="0"/>
            </a:spcBef>
            <a:spcAft>
              <a:spcPts val="400"/>
            </a:spcAft>
          </a:pPr>
          <a:r>
            <a:rPr lang="nl-NL" sz="900" kern="1200"/>
            <a:t>Ontwikkeling en beheer samenbrengen</a:t>
          </a:r>
        </a:p>
      </dsp:txBody>
      <dsp:txXfrm>
        <a:off x="2098250" y="4424390"/>
        <a:ext cx="1371052" cy="916783"/>
      </dsp:txXfrm>
    </dsp:sp>
    <dsp:sp modelId="{F7823181-D95C-4548-8D31-3B61A998A8F3}">
      <dsp:nvSpPr>
        <dsp:cNvPr id="0" name=""/>
        <dsp:cNvSpPr/>
      </dsp:nvSpPr>
      <dsp:spPr>
        <a:xfrm>
          <a:off x="3660510"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5715" rIns="0" bIns="5715" numCol="1" spcCol="1270" anchor="ctr" anchorCtr="0">
          <a:noAutofit/>
        </a:bodyPr>
        <a:lstStyle/>
        <a:p>
          <a:pPr lvl="0" algn="ctr" defTabSz="400050">
            <a:lnSpc>
              <a:spcPct val="90000"/>
            </a:lnSpc>
            <a:spcBef>
              <a:spcPct val="0"/>
            </a:spcBef>
            <a:spcAft>
              <a:spcPts val="400"/>
            </a:spcAft>
          </a:pPr>
          <a:r>
            <a:rPr lang="nl-NL" sz="900" kern="1200"/>
            <a:t>Inrichting Leveranciers- &amp; contractmanagement</a:t>
          </a:r>
        </a:p>
        <a:p>
          <a:pPr lvl="0" algn="ctr" defTabSz="400050">
            <a:lnSpc>
              <a:spcPct val="90000"/>
            </a:lnSpc>
            <a:spcBef>
              <a:spcPct val="0"/>
            </a:spcBef>
            <a:spcAft>
              <a:spcPts val="400"/>
            </a:spcAft>
          </a:pPr>
          <a:r>
            <a:rPr lang="nl-NL" sz="900" kern="1200"/>
            <a:t>Functieprofielen IM</a:t>
          </a:r>
        </a:p>
        <a:p>
          <a:pPr lvl="0" algn="ctr" defTabSz="400050">
            <a:lnSpc>
              <a:spcPct val="90000"/>
            </a:lnSpc>
            <a:spcBef>
              <a:spcPct val="0"/>
            </a:spcBef>
            <a:spcAft>
              <a:spcPts val="400"/>
            </a:spcAft>
          </a:pPr>
          <a:r>
            <a:rPr lang="nl-NL" sz="900" kern="1200"/>
            <a:t>Professionalisering ICT inkoop</a:t>
          </a:r>
        </a:p>
        <a:p>
          <a:pPr lvl="0" algn="ctr" defTabSz="400050">
            <a:lnSpc>
              <a:spcPct val="90000"/>
            </a:lnSpc>
            <a:spcBef>
              <a:spcPct val="0"/>
            </a:spcBef>
            <a:spcAft>
              <a:spcPts val="400"/>
            </a:spcAft>
          </a:pPr>
          <a:r>
            <a:rPr lang="nl-NL" sz="900" kern="1200"/>
            <a:t>Data </a:t>
          </a:r>
          <a:r>
            <a:rPr lang="nl-NL" sz="900" kern="1200" err="1"/>
            <a:t>Governance</a:t>
          </a:r>
          <a:endParaRPr lang="nl-NL" sz="900" kern="1200"/>
        </a:p>
      </dsp:txBody>
      <dsp:txXfrm>
        <a:off x="4118905" y="4424386"/>
        <a:ext cx="1371045" cy="916790"/>
      </dsp:txXfrm>
    </dsp:sp>
    <dsp:sp modelId="{54E5B12B-5A5F-4DFD-A255-6C8C32526395}">
      <dsp:nvSpPr>
        <dsp:cNvPr id="0" name=""/>
        <dsp:cNvSpPr/>
      </dsp:nvSpPr>
      <dsp:spPr>
        <a:xfrm>
          <a:off x="5681162"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6139557" y="4424386"/>
        <a:ext cx="1371045" cy="916790"/>
      </dsp:txXfrm>
    </dsp:sp>
    <dsp:sp modelId="{9D541BD9-D6A2-43C7-B91C-2D697E81376F}">
      <dsp:nvSpPr>
        <dsp:cNvPr id="0" name=""/>
        <dsp:cNvSpPr/>
      </dsp:nvSpPr>
      <dsp:spPr>
        <a:xfrm>
          <a:off x="7701814"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8160209" y="4424386"/>
        <a:ext cx="1371045" cy="916790"/>
      </dsp:txXfrm>
    </dsp:sp>
    <dsp:sp modelId="{267F98CF-3B0B-4374-BA95-4747FC32EBB6}">
      <dsp:nvSpPr>
        <dsp:cNvPr id="0" name=""/>
        <dsp:cNvSpPr/>
      </dsp:nvSpPr>
      <dsp:spPr>
        <a:xfrm>
          <a:off x="9722466" y="4424386"/>
          <a:ext cx="2287835" cy="916790"/>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dsp:txBody>
      <dsp:txXfrm>
        <a:off x="10180861" y="4424386"/>
        <a:ext cx="1371045" cy="9167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90645" y="112356"/>
          <a:ext cx="1058400" cy="1058400"/>
        </a:xfrm>
        <a:prstGeom prst="pie">
          <a:avLst>
            <a:gd name="adj1" fmla="val 16200000"/>
            <a:gd name="adj2" fmla="val 18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b="1" kern="1200"/>
            <a:t>Basis op orde</a:t>
          </a:r>
        </a:p>
      </dsp:txBody>
      <dsp:txXfrm>
        <a:off x="766087" y="307656"/>
        <a:ext cx="359100" cy="352800"/>
      </dsp:txXfrm>
    </dsp:sp>
    <dsp:sp modelId="{826F2E86-6031-4C85-8175-41AC8A98B8A4}">
      <dsp:nvSpPr>
        <dsp:cNvPr id="0" name=""/>
        <dsp:cNvSpPr/>
      </dsp:nvSpPr>
      <dsp:spPr>
        <a:xfrm>
          <a:off x="163520" y="116549"/>
          <a:ext cx="1058400" cy="1058400"/>
        </a:xfrm>
        <a:prstGeom prst="pie">
          <a:avLst>
            <a:gd name="adj1" fmla="val 1800000"/>
            <a:gd name="adj2" fmla="val 90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Venieuw-ing</a:t>
          </a:r>
        </a:p>
      </dsp:txBody>
      <dsp:txXfrm>
        <a:off x="453320" y="784350"/>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Data</a:t>
          </a:r>
        </a:p>
      </dsp:txBody>
      <dsp:txXfrm>
        <a:off x="299573" y="341954"/>
        <a:ext cx="339536" cy="3335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90645" y="112356"/>
          <a:ext cx="1058400" cy="1058400"/>
        </a:xfrm>
        <a:prstGeom prst="pie">
          <a:avLst>
            <a:gd name="adj1" fmla="val 16200000"/>
            <a:gd name="adj2" fmla="val 18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b="1" kern="1200"/>
            <a:t>Basis op orde</a:t>
          </a:r>
        </a:p>
      </dsp:txBody>
      <dsp:txXfrm>
        <a:off x="766087" y="307656"/>
        <a:ext cx="359100" cy="352800"/>
      </dsp:txXfrm>
    </dsp:sp>
    <dsp:sp modelId="{826F2E86-6031-4C85-8175-41AC8A98B8A4}">
      <dsp:nvSpPr>
        <dsp:cNvPr id="0" name=""/>
        <dsp:cNvSpPr/>
      </dsp:nvSpPr>
      <dsp:spPr>
        <a:xfrm>
          <a:off x="163520" y="116549"/>
          <a:ext cx="1058400" cy="1058400"/>
        </a:xfrm>
        <a:prstGeom prst="pie">
          <a:avLst>
            <a:gd name="adj1" fmla="val 1800000"/>
            <a:gd name="adj2" fmla="val 90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Venieuw-ing</a:t>
          </a:r>
        </a:p>
      </dsp:txBody>
      <dsp:txXfrm>
        <a:off x="453320" y="784350"/>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Data</a:t>
          </a:r>
        </a:p>
      </dsp:txBody>
      <dsp:txXfrm>
        <a:off x="299573" y="341954"/>
        <a:ext cx="339536" cy="33357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90645" y="112356"/>
          <a:ext cx="1058400" cy="1058400"/>
        </a:xfrm>
        <a:prstGeom prst="pie">
          <a:avLst>
            <a:gd name="adj1" fmla="val 16200000"/>
            <a:gd name="adj2" fmla="val 18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b="1" kern="1200"/>
            <a:t>Basis op orde</a:t>
          </a:r>
        </a:p>
      </dsp:txBody>
      <dsp:txXfrm>
        <a:off x="766087" y="307656"/>
        <a:ext cx="359100" cy="352800"/>
      </dsp:txXfrm>
    </dsp:sp>
    <dsp:sp modelId="{826F2E86-6031-4C85-8175-41AC8A98B8A4}">
      <dsp:nvSpPr>
        <dsp:cNvPr id="0" name=""/>
        <dsp:cNvSpPr/>
      </dsp:nvSpPr>
      <dsp:spPr>
        <a:xfrm>
          <a:off x="163520" y="116549"/>
          <a:ext cx="1058400" cy="1058400"/>
        </a:xfrm>
        <a:prstGeom prst="pie">
          <a:avLst>
            <a:gd name="adj1" fmla="val 1800000"/>
            <a:gd name="adj2" fmla="val 90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Venieuw-ing</a:t>
          </a:r>
        </a:p>
      </dsp:txBody>
      <dsp:txXfrm>
        <a:off x="453320" y="784350"/>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Data</a:t>
          </a:r>
        </a:p>
      </dsp:txBody>
      <dsp:txXfrm>
        <a:off x="299573" y="341954"/>
        <a:ext cx="339536" cy="33357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22AD68-D194-4552-A5CE-B50BE7C9A52E}">
      <dsp:nvSpPr>
        <dsp:cNvPr id="0" name=""/>
        <dsp:cNvSpPr/>
      </dsp:nvSpPr>
      <dsp:spPr>
        <a:xfrm>
          <a:off x="190645" y="112356"/>
          <a:ext cx="1058400" cy="1058400"/>
        </a:xfrm>
        <a:prstGeom prst="pie">
          <a:avLst>
            <a:gd name="adj1" fmla="val 16200000"/>
            <a:gd name="adj2" fmla="val 180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b="1" kern="1200"/>
            <a:t>Basis op orde</a:t>
          </a:r>
        </a:p>
      </dsp:txBody>
      <dsp:txXfrm>
        <a:off x="766087" y="307656"/>
        <a:ext cx="359100" cy="352800"/>
      </dsp:txXfrm>
    </dsp:sp>
    <dsp:sp modelId="{826F2E86-6031-4C85-8175-41AC8A98B8A4}">
      <dsp:nvSpPr>
        <dsp:cNvPr id="0" name=""/>
        <dsp:cNvSpPr/>
      </dsp:nvSpPr>
      <dsp:spPr>
        <a:xfrm>
          <a:off x="163520" y="116549"/>
          <a:ext cx="1058400" cy="1058400"/>
        </a:xfrm>
        <a:prstGeom prst="pie">
          <a:avLst>
            <a:gd name="adj1" fmla="val 1800000"/>
            <a:gd name="adj2" fmla="val 90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err="1"/>
            <a:t>Venieuw-ing</a:t>
          </a:r>
          <a:endParaRPr lang="nl-NL" sz="800" kern="1200"/>
        </a:p>
      </dsp:txBody>
      <dsp:txXfrm>
        <a:off x="453320" y="784350"/>
        <a:ext cx="478800" cy="327600"/>
      </dsp:txXfrm>
    </dsp:sp>
    <dsp:sp modelId="{F3E8429B-7DFD-40AC-92D4-284FD6754F51}">
      <dsp:nvSpPr>
        <dsp:cNvPr id="0" name=""/>
        <dsp:cNvSpPr/>
      </dsp:nvSpPr>
      <dsp:spPr>
        <a:xfrm>
          <a:off x="192351" y="145380"/>
          <a:ext cx="1000738" cy="1000738"/>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NL" sz="800" kern="1200"/>
            <a:t>Data</a:t>
          </a:r>
        </a:p>
      </dsp:txBody>
      <dsp:txXfrm>
        <a:off x="299573" y="341954"/>
        <a:ext cx="339536" cy="33357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4.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5.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6.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7.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9.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7.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8.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9.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41D4C2-6B4D-462C-A080-AC99F1CE5FE3}" type="datetimeFigureOut">
              <a:rPr lang="nl-NL" smtClean="0"/>
              <a:t>18-3-2021</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97A484-654E-4C07-8E99-49BD878E3AF5}" type="slidenum">
              <a:rPr lang="nl-NL" smtClean="0"/>
              <a:t>‹nr.›</a:t>
            </a:fld>
            <a:endParaRPr lang="nl-NL"/>
          </a:p>
        </p:txBody>
      </p:sp>
    </p:spTree>
    <p:extLst>
      <p:ext uri="{BB962C8B-B14F-4D97-AF65-F5344CB8AC3E}">
        <p14:creationId xmlns:p14="http://schemas.microsoft.com/office/powerpoint/2010/main" val="4097773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1</a:t>
            </a:fld>
            <a:endParaRPr lang="nl-NL"/>
          </a:p>
        </p:txBody>
      </p:sp>
    </p:spTree>
    <p:extLst>
      <p:ext uri="{BB962C8B-B14F-4D97-AF65-F5344CB8AC3E}">
        <p14:creationId xmlns:p14="http://schemas.microsoft.com/office/powerpoint/2010/main" val="2725557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2</a:t>
            </a:fld>
            <a:endParaRPr lang="nl-NL"/>
          </a:p>
        </p:txBody>
      </p:sp>
    </p:spTree>
    <p:extLst>
      <p:ext uri="{BB962C8B-B14F-4D97-AF65-F5344CB8AC3E}">
        <p14:creationId xmlns:p14="http://schemas.microsoft.com/office/powerpoint/2010/main" val="4096366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De Raad bevindt zich op het kruispunt van beleid en uitvoering.</a:t>
            </a:r>
          </a:p>
          <a:p>
            <a:pPr marL="171450" indent="-171450">
              <a:buFontTx/>
              <a:buChar char="-"/>
            </a:pPr>
            <a:r>
              <a:rPr lang="nl-NL"/>
              <a:t>Bijdragen aan ontwikkeling van nieuw beleid op ministerie van J&amp;V</a:t>
            </a:r>
          </a:p>
          <a:p>
            <a:pPr marL="171450" indent="-171450">
              <a:buFontTx/>
              <a:buChar char="-"/>
            </a:pPr>
            <a:r>
              <a:rPr lang="nl-NL"/>
              <a:t>Werken met ketenpartners aan vereenvoudiging van procedures en regelgeving</a:t>
            </a:r>
          </a:p>
          <a:p>
            <a:pPr marL="171450" indent="-171450">
              <a:buFontTx/>
              <a:buChar char="-"/>
            </a:pPr>
            <a:r>
              <a:rPr lang="nl-NL"/>
              <a:t>Toezien op maatschappelijk verantwoorde en doelmatige besteding van beschikbare middelen</a:t>
            </a:r>
          </a:p>
          <a:p>
            <a:pPr marL="171450" indent="-171450">
              <a:buFontTx/>
              <a:buChar char="-"/>
            </a:pPr>
            <a:r>
              <a:rPr lang="nl-NL"/>
              <a:t>Versterken van de zelfredzaamheid van burgers met juridische problemen door het leveren van een gevarieerd en transparant aanbod</a:t>
            </a:r>
          </a:p>
          <a:p>
            <a:pPr marL="171450" indent="-171450">
              <a:buFontTx/>
              <a:buChar char="-"/>
            </a:pPr>
            <a:r>
              <a:rPr lang="nl-NL"/>
              <a:t>Bieden van maatwerk waar nodig</a:t>
            </a:r>
          </a:p>
          <a:p>
            <a:pPr marL="171450" indent="-171450">
              <a:buFontTx/>
              <a:buChar char="-"/>
            </a:pPr>
            <a:r>
              <a:rPr lang="nl-NL"/>
              <a:t>Werken aan verbetering van dienstverlening door samenwerken met directe partners</a:t>
            </a:r>
          </a:p>
          <a:p>
            <a:pPr marL="171450" indent="-171450">
              <a:buFontTx/>
              <a:buChar char="-"/>
            </a:pPr>
            <a:endParaRPr lang="nl-NL"/>
          </a:p>
          <a:p>
            <a:pPr marL="171450" indent="-171450">
              <a:buFontTx/>
              <a:buChar char="-"/>
            </a:pPr>
            <a:r>
              <a:rPr lang="nl-NL"/>
              <a:t>Legitimiteit van uitvoering vraagt om continue analyse, samen leren en aanpassen aan wijzigende omstandigheden.</a:t>
            </a:r>
          </a:p>
          <a:p>
            <a:pPr marL="171450" indent="-171450">
              <a:buFontTx/>
              <a:buChar char="-"/>
            </a:pPr>
            <a:r>
              <a:rPr lang="nl-NL"/>
              <a:t>Daarvoor nodig om aan te leren van klantgerichte dienstverlening met sensitiviteit en vaardigheden. Dat vraagt om ruimte, energie en creativiteit van medewerkers.</a:t>
            </a:r>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3</a:t>
            </a:fld>
            <a:endParaRPr lang="nl-NL"/>
          </a:p>
        </p:txBody>
      </p:sp>
    </p:spTree>
    <p:extLst>
      <p:ext uri="{BB962C8B-B14F-4D97-AF65-F5344CB8AC3E}">
        <p14:creationId xmlns:p14="http://schemas.microsoft.com/office/powerpoint/2010/main" val="2912377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a:t>Architectuurproducten</a:t>
            </a:r>
          </a:p>
          <a:p>
            <a:pPr marL="171450" indent="-171450">
              <a:buFont typeface="Arial" panose="020B0604020202020204" pitchFamily="34" charset="0"/>
              <a:buChar char="•"/>
            </a:pPr>
            <a:r>
              <a:rPr lang="nl-NL"/>
              <a:t>Enterprise </a:t>
            </a:r>
          </a:p>
          <a:p>
            <a:pPr marL="171450" indent="-171450">
              <a:buFontTx/>
              <a:buChar char="-"/>
            </a:pPr>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11</a:t>
            </a:fld>
            <a:endParaRPr lang="nl-NL"/>
          </a:p>
        </p:txBody>
      </p:sp>
    </p:spTree>
    <p:extLst>
      <p:ext uri="{BB962C8B-B14F-4D97-AF65-F5344CB8AC3E}">
        <p14:creationId xmlns:p14="http://schemas.microsoft.com/office/powerpoint/2010/main" val="1665941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12</a:t>
            </a:fld>
            <a:endParaRPr lang="nl-NL"/>
          </a:p>
        </p:txBody>
      </p:sp>
    </p:spTree>
    <p:extLst>
      <p:ext uri="{BB962C8B-B14F-4D97-AF65-F5344CB8AC3E}">
        <p14:creationId xmlns:p14="http://schemas.microsoft.com/office/powerpoint/2010/main" val="919155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13</a:t>
            </a:fld>
            <a:endParaRPr lang="nl-NL"/>
          </a:p>
        </p:txBody>
      </p:sp>
    </p:spTree>
    <p:extLst>
      <p:ext uri="{BB962C8B-B14F-4D97-AF65-F5344CB8AC3E}">
        <p14:creationId xmlns:p14="http://schemas.microsoft.com/office/powerpoint/2010/main" val="3253122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a:t>Architectuurproducten</a:t>
            </a:r>
          </a:p>
          <a:p>
            <a:pPr marL="171450" indent="-171450">
              <a:buFont typeface="Arial" panose="020B0604020202020204" pitchFamily="34" charset="0"/>
              <a:buChar char="•"/>
            </a:pPr>
            <a:r>
              <a:rPr lang="nl-NL"/>
              <a:t>Enterprise </a:t>
            </a:r>
          </a:p>
          <a:p>
            <a:pPr marL="171450" indent="-171450">
              <a:buFontTx/>
              <a:buChar char="-"/>
            </a:pPr>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18</a:t>
            </a:fld>
            <a:endParaRPr lang="nl-NL"/>
          </a:p>
        </p:txBody>
      </p:sp>
    </p:spTree>
    <p:extLst>
      <p:ext uri="{BB962C8B-B14F-4D97-AF65-F5344CB8AC3E}">
        <p14:creationId xmlns:p14="http://schemas.microsoft.com/office/powerpoint/2010/main" val="1349065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C97A484-654E-4C07-8E99-49BD878E3AF5}" type="slidenum">
              <a:rPr kumimoji="0" lang="nl-NL"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nl-NL"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44838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4C97A484-654E-4C07-8E99-49BD878E3AF5}" type="slidenum">
              <a:rPr lang="nl-NL" smtClean="0"/>
              <a:t>30</a:t>
            </a:fld>
            <a:endParaRPr lang="nl-NL"/>
          </a:p>
        </p:txBody>
      </p:sp>
    </p:spTree>
    <p:extLst>
      <p:ext uri="{BB962C8B-B14F-4D97-AF65-F5344CB8AC3E}">
        <p14:creationId xmlns:p14="http://schemas.microsoft.com/office/powerpoint/2010/main" val="23645749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4"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227984"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3076" name="Rectangle 4"/>
          <p:cNvSpPr>
            <a:spLocks noGrp="1" noChangeArrowheads="1"/>
          </p:cNvSpPr>
          <p:nvPr>
            <p:ph type="ctrTitle"/>
          </p:nvPr>
        </p:nvSpPr>
        <p:spPr>
          <a:xfrm>
            <a:off x="914400" y="2130426"/>
            <a:ext cx="10363200" cy="1470025"/>
          </a:xfrm>
        </p:spPr>
        <p:txBody>
          <a:bodyPr/>
          <a:lstStyle>
            <a:lvl1pPr>
              <a:defRPr/>
            </a:lvl1pPr>
          </a:lstStyle>
          <a:p>
            <a:r>
              <a:rPr lang="nl-NL"/>
              <a:t>Klik om stijl te bewerken</a:t>
            </a:r>
          </a:p>
        </p:txBody>
      </p:sp>
      <p:sp>
        <p:nvSpPr>
          <p:cNvPr id="3077" name="Rectangle 5"/>
          <p:cNvSpPr>
            <a:spLocks noGrp="1" noChangeArrowheads="1"/>
          </p:cNvSpPr>
          <p:nvPr>
            <p:ph type="subTitle" idx="1"/>
          </p:nvPr>
        </p:nvSpPr>
        <p:spPr>
          <a:xfrm>
            <a:off x="1828800" y="3886200"/>
            <a:ext cx="8534400" cy="1752600"/>
          </a:xfrm>
        </p:spPr>
        <p:txBody>
          <a:bodyPr/>
          <a:lstStyle>
            <a:lvl1pPr marL="0" indent="0" algn="ctr">
              <a:buFontTx/>
              <a:buNone/>
              <a:defRPr/>
            </a:lvl1pPr>
          </a:lstStyle>
          <a:p>
            <a:r>
              <a:rPr lang="nl-NL"/>
              <a:t>Klikken om de ondertitelstijl van het model te bewerken</a:t>
            </a:r>
          </a:p>
        </p:txBody>
      </p:sp>
    </p:spTree>
    <p:extLst>
      <p:ext uri="{BB962C8B-B14F-4D97-AF65-F5344CB8AC3E}">
        <p14:creationId xmlns:p14="http://schemas.microsoft.com/office/powerpoint/2010/main" val="707643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verticale tekst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5" name="Rectangle 5"/>
          <p:cNvSpPr>
            <a:spLocks noGrp="1" noChangeArrowheads="1"/>
          </p:cNvSpPr>
          <p:nvPr>
            <p:ph type="ftr" sz="quarter" idx="11"/>
          </p:nvPr>
        </p:nvSpPr>
        <p:spPr>
          <a:ln/>
        </p:spPr>
        <p:txBody>
          <a:bodyPr/>
          <a:lstStyle>
            <a:lvl1pPr>
              <a:defRPr/>
            </a:lvl1pPr>
          </a:lstStyle>
          <a:p>
            <a:endParaRPr lang="nl-NL"/>
          </a:p>
        </p:txBody>
      </p:sp>
      <p:sp>
        <p:nvSpPr>
          <p:cNvPr id="6"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6680280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51900" y="1"/>
            <a:ext cx="2745317" cy="6126163"/>
          </a:xfrm>
        </p:spPr>
        <p:txBody>
          <a:bodyPr vert="eaVert"/>
          <a:lstStyle/>
          <a:p>
            <a:r>
              <a:rPr lang="nl-NL"/>
              <a:t>Klik om stijl te bewerken</a:t>
            </a:r>
          </a:p>
        </p:txBody>
      </p:sp>
      <p:sp>
        <p:nvSpPr>
          <p:cNvPr id="3" name="Tijdelijke aanduiding voor verticale tekst 2"/>
          <p:cNvSpPr>
            <a:spLocks noGrp="1"/>
          </p:cNvSpPr>
          <p:nvPr>
            <p:ph type="body" orient="vert" idx="1"/>
          </p:nvPr>
        </p:nvSpPr>
        <p:spPr>
          <a:xfrm>
            <a:off x="609601" y="1"/>
            <a:ext cx="8039100" cy="6126163"/>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5" name="Rectangle 5"/>
          <p:cNvSpPr>
            <a:spLocks noGrp="1" noChangeArrowheads="1"/>
          </p:cNvSpPr>
          <p:nvPr>
            <p:ph type="ftr" sz="quarter" idx="11"/>
          </p:nvPr>
        </p:nvSpPr>
        <p:spPr>
          <a:ln/>
        </p:spPr>
        <p:txBody>
          <a:bodyPr/>
          <a:lstStyle>
            <a:lvl1pPr>
              <a:defRPr/>
            </a:lvl1pPr>
          </a:lstStyle>
          <a:p>
            <a:endParaRPr lang="nl-NL"/>
          </a:p>
        </p:txBody>
      </p:sp>
      <p:sp>
        <p:nvSpPr>
          <p:cNvPr id="6"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2458424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el, inhoud en tekst">
    <p:spTree>
      <p:nvGrpSpPr>
        <p:cNvPr id="1" name=""/>
        <p:cNvGrpSpPr/>
        <p:nvPr/>
      </p:nvGrpSpPr>
      <p:grpSpPr>
        <a:xfrm>
          <a:off x="0" y="0"/>
          <a:ext cx="0" cy="0"/>
          <a:chOff x="0" y="0"/>
          <a:chExt cx="0" cy="0"/>
        </a:xfrm>
      </p:grpSpPr>
      <p:sp>
        <p:nvSpPr>
          <p:cNvPr id="2" name="Titel 1"/>
          <p:cNvSpPr>
            <a:spLocks noGrp="1"/>
          </p:cNvSpPr>
          <p:nvPr>
            <p:ph type="title"/>
          </p:nvPr>
        </p:nvSpPr>
        <p:spPr>
          <a:xfrm>
            <a:off x="624417" y="0"/>
            <a:ext cx="10972800" cy="1143000"/>
          </a:xfrm>
        </p:spPr>
        <p:txBody>
          <a:bodyPr/>
          <a:lstStyle/>
          <a:p>
            <a:r>
              <a:rPr lang="nl-NL"/>
              <a:t>Klik om stijl te bewerken</a:t>
            </a:r>
          </a:p>
        </p:txBody>
      </p:sp>
      <p:sp>
        <p:nvSpPr>
          <p:cNvPr id="3" name="Tijdelijke aanduiding voor inhoud 2"/>
          <p:cNvSpPr>
            <a:spLocks noGrp="1"/>
          </p:cNvSpPr>
          <p:nvPr>
            <p:ph sz="half" idx="1"/>
          </p:nvPr>
        </p:nvSpPr>
        <p:spPr>
          <a:xfrm>
            <a:off x="609600" y="1600201"/>
            <a:ext cx="5384800" cy="452596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197600" y="1600201"/>
            <a:ext cx="5384800" cy="452596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6" name="Rectangle 5"/>
          <p:cNvSpPr>
            <a:spLocks noGrp="1" noChangeArrowheads="1"/>
          </p:cNvSpPr>
          <p:nvPr>
            <p:ph type="ftr" sz="quarter" idx="11"/>
          </p:nvPr>
        </p:nvSpPr>
        <p:spPr>
          <a:ln/>
        </p:spPr>
        <p:txBody>
          <a:bodyPr/>
          <a:lstStyle>
            <a:lvl1pPr>
              <a:defRPr/>
            </a:lvl1pPr>
          </a:lstStyle>
          <a:p>
            <a:endParaRPr lang="nl-NL"/>
          </a:p>
        </p:txBody>
      </p:sp>
      <p:sp>
        <p:nvSpPr>
          <p:cNvPr id="7"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3774181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4_Titel en objec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7142" y="1427166"/>
            <a:ext cx="11186191" cy="4668837"/>
          </a:xfrm>
        </p:spPr>
        <p:txBody>
          <a:bodyPr/>
          <a:lstStyle>
            <a:lvl1pPr marL="0" indent="0">
              <a:buNone/>
              <a:defRPr sz="1600"/>
            </a:lvl1pPr>
            <a:lvl2pPr marL="742950" indent="-285750">
              <a:buFont typeface="Wingdings" panose="05000000000000000000" pitchFamily="2" charset="2"/>
              <a:buChar char="§"/>
              <a:defRPr sz="1600" baseline="0"/>
            </a:lvl2pPr>
            <a:lvl3pPr>
              <a:defRPr/>
            </a:lvl3pPr>
            <a:lvl4pPr>
              <a:defRPr/>
            </a:lvl4pPr>
            <a:lvl5pPr>
              <a:defRPr/>
            </a:lvl5pPr>
          </a:lstStyle>
          <a:p>
            <a:pPr lvl="0"/>
            <a:r>
              <a:rPr lang="nl-NL"/>
              <a:t>1. Hoofdstuk titel</a:t>
            </a:r>
          </a:p>
          <a:p>
            <a:pPr lvl="1"/>
            <a:r>
              <a:rPr lang="nl-NL"/>
              <a:t>Subtitel</a:t>
            </a:r>
          </a:p>
        </p:txBody>
      </p:sp>
      <p:sp>
        <p:nvSpPr>
          <p:cNvPr id="4" name="Slide Number Placeholder 3">
            <a:extLst>
              <a:ext uri="{FF2B5EF4-FFF2-40B4-BE49-F238E27FC236}">
                <a16:creationId xmlns:a16="http://schemas.microsoft.com/office/drawing/2014/main" id="{848E05C8-4DA5-C54C-97E4-946C83D923A0}"/>
              </a:ext>
            </a:extLst>
          </p:cNvPr>
          <p:cNvSpPr>
            <a:spLocks noGrp="1"/>
          </p:cNvSpPr>
          <p:nvPr>
            <p:ph type="sldNum" sz="quarter" idx="15"/>
          </p:nvPr>
        </p:nvSpPr>
        <p:spPr/>
        <p:txBody>
          <a:bodyPr/>
          <a:lstStyle/>
          <a:p>
            <a:fld id="{CD1C61F8-EDA4-47DC-AE03-28DB4D79915E}" type="slidenum">
              <a:rPr lang="nl-NL" smtClean="0"/>
              <a:t>‹nr.›</a:t>
            </a:fld>
            <a:endParaRPr lang="nl-NL"/>
          </a:p>
        </p:txBody>
      </p:sp>
      <p:sp>
        <p:nvSpPr>
          <p:cNvPr id="5" name="Title 4">
            <a:extLst>
              <a:ext uri="{FF2B5EF4-FFF2-40B4-BE49-F238E27FC236}">
                <a16:creationId xmlns:a16="http://schemas.microsoft.com/office/drawing/2014/main" id="{D5B89087-B0BD-5447-9B66-0F391AB529F6}"/>
              </a:ext>
            </a:extLst>
          </p:cNvPr>
          <p:cNvSpPr>
            <a:spLocks noGrp="1"/>
          </p:cNvSpPr>
          <p:nvPr>
            <p:ph type="title"/>
          </p:nvPr>
        </p:nvSpPr>
        <p:spPr/>
        <p:txBody>
          <a:bodyPr lIns="0" tIns="0" rIns="0" bIns="0"/>
          <a:lstStyle/>
          <a:p>
            <a:r>
              <a:rPr lang="nl-NL"/>
              <a:t>Klik om stijl te bewerken</a:t>
            </a:r>
            <a:endParaRPr lang="en-GB"/>
          </a:p>
        </p:txBody>
      </p:sp>
      <p:sp>
        <p:nvSpPr>
          <p:cNvPr id="6" name="Footer Placeholder 5">
            <a:extLst>
              <a:ext uri="{FF2B5EF4-FFF2-40B4-BE49-F238E27FC236}">
                <a16:creationId xmlns:a16="http://schemas.microsoft.com/office/drawing/2014/main" id="{6B6F1BA6-8714-394B-AED8-FFE0160798C4}"/>
              </a:ext>
            </a:extLst>
          </p:cNvPr>
          <p:cNvSpPr>
            <a:spLocks noGrp="1"/>
          </p:cNvSpPr>
          <p:nvPr>
            <p:ph type="ftr" sz="quarter" idx="16"/>
          </p:nvPr>
        </p:nvSpPr>
        <p:spPr/>
        <p:txBody>
          <a:bodyPr/>
          <a:lstStyle/>
          <a:p>
            <a:endParaRPr lang="nl-NL"/>
          </a:p>
        </p:txBody>
      </p:sp>
    </p:spTree>
    <p:extLst>
      <p:ext uri="{BB962C8B-B14F-4D97-AF65-F5344CB8AC3E}">
        <p14:creationId xmlns:p14="http://schemas.microsoft.com/office/powerpoint/2010/main" val="35558365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5_Titel en objec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7142" y="1427166"/>
            <a:ext cx="11186191" cy="4668837"/>
          </a:xfrm>
        </p:spPr>
        <p:txBody>
          <a:bodyPr/>
          <a:lstStyle>
            <a:lvl1pPr marL="0" indent="0">
              <a:buNone/>
              <a:defRPr sz="1600"/>
            </a:lvl1pPr>
            <a:lvl2pPr marL="742950" indent="-285750">
              <a:buFont typeface="Wingdings" panose="05000000000000000000" pitchFamily="2" charset="2"/>
              <a:buChar char="§"/>
              <a:defRPr sz="1600" baseline="0"/>
            </a:lvl2pPr>
            <a:lvl3pPr>
              <a:defRPr/>
            </a:lvl3pPr>
            <a:lvl4pPr>
              <a:defRPr/>
            </a:lvl4pPr>
            <a:lvl5pPr>
              <a:defRPr/>
            </a:lvl5pPr>
          </a:lstStyle>
          <a:p>
            <a:pPr lvl="0"/>
            <a:r>
              <a:rPr lang="nl-NL"/>
              <a:t>1. Hoofdstuk titel</a:t>
            </a:r>
          </a:p>
          <a:p>
            <a:pPr lvl="1"/>
            <a:r>
              <a:rPr lang="nl-NL"/>
              <a:t>Subtitel</a:t>
            </a:r>
          </a:p>
        </p:txBody>
      </p:sp>
      <p:sp>
        <p:nvSpPr>
          <p:cNvPr id="4" name="Slide Number Placeholder 3">
            <a:extLst>
              <a:ext uri="{FF2B5EF4-FFF2-40B4-BE49-F238E27FC236}">
                <a16:creationId xmlns:a16="http://schemas.microsoft.com/office/drawing/2014/main" id="{848E05C8-4DA5-C54C-97E4-946C83D923A0}"/>
              </a:ext>
            </a:extLst>
          </p:cNvPr>
          <p:cNvSpPr>
            <a:spLocks noGrp="1"/>
          </p:cNvSpPr>
          <p:nvPr>
            <p:ph type="sldNum" sz="quarter" idx="15"/>
          </p:nvPr>
        </p:nvSpPr>
        <p:spPr/>
        <p:txBody>
          <a:bodyPr/>
          <a:lstStyle/>
          <a:p>
            <a:fld id="{CD1C61F8-EDA4-47DC-AE03-28DB4D79915E}" type="slidenum">
              <a:rPr lang="nl-NL" smtClean="0"/>
              <a:t>‹nr.›</a:t>
            </a:fld>
            <a:endParaRPr lang="nl-NL"/>
          </a:p>
        </p:txBody>
      </p:sp>
      <p:sp>
        <p:nvSpPr>
          <p:cNvPr id="5" name="Title 4">
            <a:extLst>
              <a:ext uri="{FF2B5EF4-FFF2-40B4-BE49-F238E27FC236}">
                <a16:creationId xmlns:a16="http://schemas.microsoft.com/office/drawing/2014/main" id="{D5B89087-B0BD-5447-9B66-0F391AB529F6}"/>
              </a:ext>
            </a:extLst>
          </p:cNvPr>
          <p:cNvSpPr>
            <a:spLocks noGrp="1"/>
          </p:cNvSpPr>
          <p:nvPr>
            <p:ph type="title"/>
          </p:nvPr>
        </p:nvSpPr>
        <p:spPr/>
        <p:txBody>
          <a:bodyPr lIns="0" tIns="0" rIns="0" bIns="0"/>
          <a:lstStyle/>
          <a:p>
            <a:r>
              <a:rPr lang="nl-NL"/>
              <a:t>Klik om stijl te bewerken</a:t>
            </a:r>
            <a:endParaRPr lang="en-GB"/>
          </a:p>
        </p:txBody>
      </p:sp>
      <p:sp>
        <p:nvSpPr>
          <p:cNvPr id="6" name="Footer Placeholder 5">
            <a:extLst>
              <a:ext uri="{FF2B5EF4-FFF2-40B4-BE49-F238E27FC236}">
                <a16:creationId xmlns:a16="http://schemas.microsoft.com/office/drawing/2014/main" id="{6B6F1BA6-8714-394B-AED8-FFE0160798C4}"/>
              </a:ext>
            </a:extLst>
          </p:cNvPr>
          <p:cNvSpPr>
            <a:spLocks noGrp="1"/>
          </p:cNvSpPr>
          <p:nvPr>
            <p:ph type="ftr" sz="quarter" idx="16"/>
          </p:nvPr>
        </p:nvSpPr>
        <p:spPr/>
        <p:txBody>
          <a:bodyPr/>
          <a:lstStyle/>
          <a:p>
            <a:endParaRPr lang="nl-NL"/>
          </a:p>
        </p:txBody>
      </p:sp>
    </p:spTree>
    <p:extLst>
      <p:ext uri="{BB962C8B-B14F-4D97-AF65-F5344CB8AC3E}">
        <p14:creationId xmlns:p14="http://schemas.microsoft.com/office/powerpoint/2010/main" val="727654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6_Titel en objec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7142" y="1427166"/>
            <a:ext cx="11186191" cy="4668837"/>
          </a:xfrm>
        </p:spPr>
        <p:txBody>
          <a:bodyPr/>
          <a:lstStyle>
            <a:lvl1pPr marL="0" indent="0">
              <a:buNone/>
              <a:defRPr sz="1600"/>
            </a:lvl1pPr>
            <a:lvl2pPr marL="742950" indent="-285750">
              <a:buFont typeface="Wingdings" panose="05000000000000000000" pitchFamily="2" charset="2"/>
              <a:buChar char="§"/>
              <a:defRPr sz="1600" baseline="0"/>
            </a:lvl2pPr>
            <a:lvl3pPr>
              <a:defRPr/>
            </a:lvl3pPr>
            <a:lvl4pPr>
              <a:defRPr/>
            </a:lvl4pPr>
            <a:lvl5pPr>
              <a:defRPr/>
            </a:lvl5pPr>
          </a:lstStyle>
          <a:p>
            <a:pPr lvl="0"/>
            <a:r>
              <a:rPr lang="nl-NL"/>
              <a:t>1. Hoofdstuk titel</a:t>
            </a:r>
          </a:p>
          <a:p>
            <a:pPr lvl="1"/>
            <a:r>
              <a:rPr lang="nl-NL"/>
              <a:t>Subtitel</a:t>
            </a:r>
          </a:p>
        </p:txBody>
      </p:sp>
      <p:sp>
        <p:nvSpPr>
          <p:cNvPr id="4" name="Slide Number Placeholder 3">
            <a:extLst>
              <a:ext uri="{FF2B5EF4-FFF2-40B4-BE49-F238E27FC236}">
                <a16:creationId xmlns:a16="http://schemas.microsoft.com/office/drawing/2014/main" id="{848E05C8-4DA5-C54C-97E4-946C83D923A0}"/>
              </a:ext>
            </a:extLst>
          </p:cNvPr>
          <p:cNvSpPr>
            <a:spLocks noGrp="1"/>
          </p:cNvSpPr>
          <p:nvPr>
            <p:ph type="sldNum" sz="quarter" idx="15"/>
          </p:nvPr>
        </p:nvSpPr>
        <p:spPr/>
        <p:txBody>
          <a:bodyPr/>
          <a:lstStyle/>
          <a:p>
            <a:fld id="{CD1C61F8-EDA4-47DC-AE03-28DB4D79915E}" type="slidenum">
              <a:rPr lang="nl-NL" smtClean="0"/>
              <a:t>‹nr.›</a:t>
            </a:fld>
            <a:endParaRPr lang="nl-NL"/>
          </a:p>
        </p:txBody>
      </p:sp>
      <p:sp>
        <p:nvSpPr>
          <p:cNvPr id="5" name="Title 4">
            <a:extLst>
              <a:ext uri="{FF2B5EF4-FFF2-40B4-BE49-F238E27FC236}">
                <a16:creationId xmlns:a16="http://schemas.microsoft.com/office/drawing/2014/main" id="{D5B89087-B0BD-5447-9B66-0F391AB529F6}"/>
              </a:ext>
            </a:extLst>
          </p:cNvPr>
          <p:cNvSpPr>
            <a:spLocks noGrp="1"/>
          </p:cNvSpPr>
          <p:nvPr>
            <p:ph type="title"/>
          </p:nvPr>
        </p:nvSpPr>
        <p:spPr/>
        <p:txBody>
          <a:bodyPr lIns="0" tIns="0" rIns="0" bIns="0"/>
          <a:lstStyle/>
          <a:p>
            <a:r>
              <a:rPr lang="nl-NL"/>
              <a:t>Klik om stijl te bewerken</a:t>
            </a:r>
            <a:endParaRPr lang="en-GB"/>
          </a:p>
        </p:txBody>
      </p:sp>
      <p:sp>
        <p:nvSpPr>
          <p:cNvPr id="6" name="Footer Placeholder 5">
            <a:extLst>
              <a:ext uri="{FF2B5EF4-FFF2-40B4-BE49-F238E27FC236}">
                <a16:creationId xmlns:a16="http://schemas.microsoft.com/office/drawing/2014/main" id="{6B6F1BA6-8714-394B-AED8-FFE0160798C4}"/>
              </a:ext>
            </a:extLst>
          </p:cNvPr>
          <p:cNvSpPr>
            <a:spLocks noGrp="1"/>
          </p:cNvSpPr>
          <p:nvPr>
            <p:ph type="ftr" sz="quarter" idx="16"/>
          </p:nvPr>
        </p:nvSpPr>
        <p:spPr/>
        <p:txBody>
          <a:bodyPr/>
          <a:lstStyle/>
          <a:p>
            <a:endParaRPr lang="nl-NL"/>
          </a:p>
        </p:txBody>
      </p:sp>
    </p:spTree>
    <p:extLst>
      <p:ext uri="{BB962C8B-B14F-4D97-AF65-F5344CB8AC3E}">
        <p14:creationId xmlns:p14="http://schemas.microsoft.com/office/powerpoint/2010/main" val="131439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5" name="Rectangle 5"/>
          <p:cNvSpPr>
            <a:spLocks noGrp="1" noChangeArrowheads="1"/>
          </p:cNvSpPr>
          <p:nvPr>
            <p:ph type="ftr" sz="quarter" idx="11"/>
          </p:nvPr>
        </p:nvSpPr>
        <p:spPr>
          <a:ln/>
        </p:spPr>
        <p:txBody>
          <a:bodyPr/>
          <a:lstStyle>
            <a:lvl1pPr>
              <a:defRPr/>
            </a:lvl1pPr>
          </a:lstStyle>
          <a:p>
            <a:endParaRPr lang="nl-NL"/>
          </a:p>
        </p:txBody>
      </p:sp>
      <p:sp>
        <p:nvSpPr>
          <p:cNvPr id="6"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525723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nl-NL"/>
              <a:t>Klik om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Klikken om de tekststijl van het model te bewerken</a:t>
            </a:r>
          </a:p>
        </p:txBody>
      </p:sp>
      <p:sp>
        <p:nvSpPr>
          <p:cNvPr id="4"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5" name="Rectangle 5"/>
          <p:cNvSpPr>
            <a:spLocks noGrp="1" noChangeArrowheads="1"/>
          </p:cNvSpPr>
          <p:nvPr>
            <p:ph type="ftr" sz="quarter" idx="11"/>
          </p:nvPr>
        </p:nvSpPr>
        <p:spPr>
          <a:ln/>
        </p:spPr>
        <p:txBody>
          <a:bodyPr/>
          <a:lstStyle>
            <a:lvl1pPr>
              <a:defRPr/>
            </a:lvl1pPr>
          </a:lstStyle>
          <a:p>
            <a:endParaRPr lang="nl-NL"/>
          </a:p>
        </p:txBody>
      </p:sp>
      <p:sp>
        <p:nvSpPr>
          <p:cNvPr id="6"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2055549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6" name="Rectangle 5"/>
          <p:cNvSpPr>
            <a:spLocks noGrp="1" noChangeArrowheads="1"/>
          </p:cNvSpPr>
          <p:nvPr>
            <p:ph type="ftr" sz="quarter" idx="11"/>
          </p:nvPr>
        </p:nvSpPr>
        <p:spPr>
          <a:ln/>
        </p:spPr>
        <p:txBody>
          <a:bodyPr/>
          <a:lstStyle>
            <a:lvl1pPr>
              <a:defRPr/>
            </a:lvl1pPr>
          </a:lstStyle>
          <a:p>
            <a:endParaRPr lang="nl-NL"/>
          </a:p>
        </p:txBody>
      </p:sp>
      <p:sp>
        <p:nvSpPr>
          <p:cNvPr id="7"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4237507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nl-NL"/>
              <a:t>Klik om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8" name="Rectangle 5"/>
          <p:cNvSpPr>
            <a:spLocks noGrp="1" noChangeArrowheads="1"/>
          </p:cNvSpPr>
          <p:nvPr>
            <p:ph type="ftr" sz="quarter" idx="11"/>
          </p:nvPr>
        </p:nvSpPr>
        <p:spPr>
          <a:ln/>
        </p:spPr>
        <p:txBody>
          <a:bodyPr/>
          <a:lstStyle>
            <a:lvl1pPr>
              <a:defRPr/>
            </a:lvl1pPr>
          </a:lstStyle>
          <a:p>
            <a:endParaRPr lang="nl-NL"/>
          </a:p>
        </p:txBody>
      </p:sp>
      <p:sp>
        <p:nvSpPr>
          <p:cNvPr id="9"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933543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4" name="Rectangle 5"/>
          <p:cNvSpPr>
            <a:spLocks noGrp="1" noChangeArrowheads="1"/>
          </p:cNvSpPr>
          <p:nvPr>
            <p:ph type="ftr" sz="quarter" idx="11"/>
          </p:nvPr>
        </p:nvSpPr>
        <p:spPr>
          <a:ln/>
        </p:spPr>
        <p:txBody>
          <a:bodyPr/>
          <a:lstStyle>
            <a:lvl1pPr>
              <a:defRPr/>
            </a:lvl1pPr>
          </a:lstStyle>
          <a:p>
            <a:endParaRPr lang="nl-NL"/>
          </a:p>
        </p:txBody>
      </p:sp>
      <p:sp>
        <p:nvSpPr>
          <p:cNvPr id="5"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3680886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3" name="Rectangle 5"/>
          <p:cNvSpPr>
            <a:spLocks noGrp="1" noChangeArrowheads="1"/>
          </p:cNvSpPr>
          <p:nvPr>
            <p:ph type="ftr" sz="quarter" idx="11"/>
          </p:nvPr>
        </p:nvSpPr>
        <p:spPr>
          <a:ln/>
        </p:spPr>
        <p:txBody>
          <a:bodyPr/>
          <a:lstStyle>
            <a:lvl1pPr>
              <a:defRPr/>
            </a:lvl1pPr>
          </a:lstStyle>
          <a:p>
            <a:endParaRPr lang="nl-NL"/>
          </a:p>
        </p:txBody>
      </p:sp>
      <p:sp>
        <p:nvSpPr>
          <p:cNvPr id="4"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2518085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nl-NL"/>
              <a:t>Klik om stijl te bewerken</a:t>
            </a:r>
          </a:p>
        </p:txBody>
      </p:sp>
      <p:sp>
        <p:nvSpPr>
          <p:cNvPr id="3" name="Tijdelijke aanduiding voor inhoud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6" name="Rectangle 5"/>
          <p:cNvSpPr>
            <a:spLocks noGrp="1" noChangeArrowheads="1"/>
          </p:cNvSpPr>
          <p:nvPr>
            <p:ph type="ftr" sz="quarter" idx="11"/>
          </p:nvPr>
        </p:nvSpPr>
        <p:spPr>
          <a:ln/>
        </p:spPr>
        <p:txBody>
          <a:bodyPr/>
          <a:lstStyle>
            <a:lvl1pPr>
              <a:defRPr/>
            </a:lvl1pPr>
          </a:lstStyle>
          <a:p>
            <a:endParaRPr lang="nl-NL"/>
          </a:p>
        </p:txBody>
      </p:sp>
      <p:sp>
        <p:nvSpPr>
          <p:cNvPr id="7"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2983349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l-NL" noProof="0"/>
              <a:t>Klik op het pictogram als u een afbeelding wilt toevoegen</a:t>
            </a:r>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Rectangle 4"/>
          <p:cNvSpPr>
            <a:spLocks noGrp="1" noChangeArrowheads="1"/>
          </p:cNvSpPr>
          <p:nvPr>
            <p:ph type="dt" sz="half" idx="10"/>
          </p:nvPr>
        </p:nvSpPr>
        <p:spPr>
          <a:ln/>
        </p:spPr>
        <p:txBody>
          <a:bodyPr/>
          <a:lstStyle>
            <a:lvl1pPr>
              <a:defRPr/>
            </a:lvl1pPr>
          </a:lstStyle>
          <a:p>
            <a:fld id="{2C494383-82F6-4492-B7D3-6ECDFFCE2A55}" type="datetimeFigureOut">
              <a:rPr lang="nl-NL" smtClean="0"/>
              <a:t>18-3-2021</a:t>
            </a:fld>
            <a:endParaRPr lang="nl-NL"/>
          </a:p>
        </p:txBody>
      </p:sp>
      <p:sp>
        <p:nvSpPr>
          <p:cNvPr id="6" name="Rectangle 5"/>
          <p:cNvSpPr>
            <a:spLocks noGrp="1" noChangeArrowheads="1"/>
          </p:cNvSpPr>
          <p:nvPr>
            <p:ph type="ftr" sz="quarter" idx="11"/>
          </p:nvPr>
        </p:nvSpPr>
        <p:spPr>
          <a:ln/>
        </p:spPr>
        <p:txBody>
          <a:bodyPr/>
          <a:lstStyle>
            <a:lvl1pPr>
              <a:defRPr/>
            </a:lvl1pPr>
          </a:lstStyle>
          <a:p>
            <a:endParaRPr lang="nl-NL"/>
          </a:p>
        </p:txBody>
      </p:sp>
      <p:sp>
        <p:nvSpPr>
          <p:cNvPr id="7" name="Rectangle 6"/>
          <p:cNvSpPr>
            <a:spLocks noGrp="1" noChangeArrowheads="1"/>
          </p:cNvSpPr>
          <p:nvPr>
            <p:ph type="sldNum" sz="quarter" idx="12"/>
          </p:nvPr>
        </p:nvSpPr>
        <p:spPr>
          <a:ln/>
        </p:spPr>
        <p:txBody>
          <a:bodyPr/>
          <a:lstStyle>
            <a:lvl1pPr>
              <a:defRPr/>
            </a:lvl1pPr>
          </a:lstStyle>
          <a:p>
            <a:fld id="{CD1C61F8-EDA4-47DC-AE03-28DB4D79915E}" type="slidenum">
              <a:rPr lang="nl-NL" smtClean="0"/>
              <a:t>‹nr.›</a:t>
            </a:fld>
            <a:endParaRPr lang="nl-NL"/>
          </a:p>
        </p:txBody>
      </p:sp>
    </p:spTree>
    <p:extLst>
      <p:ext uri="{BB962C8B-B14F-4D97-AF65-F5344CB8AC3E}">
        <p14:creationId xmlns:p14="http://schemas.microsoft.com/office/powerpoint/2010/main" val="3407578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6E81DC-3EAD-4244-A374-A44EA8BC851E}"/>
              </a:ext>
            </a:extLst>
          </p:cNvPr>
          <p:cNvGraphicFramePr>
            <a:graphicFrameLocks noChangeAspect="1"/>
          </p:cNvGraphicFramePr>
          <p:nvPr userDrawn="1">
            <p:custDataLst>
              <p:tags r:id="rId18"/>
            </p:custDataLst>
            <p:extLst>
              <p:ext uri="{D42A27DB-BD31-4B8C-83A1-F6EECF244321}">
                <p14:modId xmlns:p14="http://schemas.microsoft.com/office/powerpoint/2010/main" val="37083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1" name="think-cell Slide" r:id="rId22" imgW="425" imgH="424" progId="TCLayout.ActiveDocument.1">
                  <p:embed/>
                </p:oleObj>
              </mc:Choice>
              <mc:Fallback>
                <p:oleObj name="think-cell Slide" r:id="rId22" imgW="425" imgH="424" progId="TCLayout.ActiveDocument.1">
                  <p:embed/>
                  <p:pic>
                    <p:nvPicPr>
                      <p:cNvPr id="5" name="Object 4" hidden="1">
                        <a:extLst>
                          <a:ext uri="{FF2B5EF4-FFF2-40B4-BE49-F238E27FC236}">
                            <a16:creationId xmlns:a16="http://schemas.microsoft.com/office/drawing/2014/main" id="{206E81DC-3EAD-4244-A374-A44EA8BC851E}"/>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BE6EEB6C-563C-4F1D-888E-1DA118F4426E}"/>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800" b="1" i="0" baseline="0">
              <a:latin typeface="Verdana" panose="020B0604030504040204" pitchFamily="34" charset="0"/>
              <a:ea typeface="+mj-ea"/>
              <a:cs typeface="+mj-cs"/>
              <a:sym typeface="Verdana" panose="020B0604030504040204" pitchFamily="34" charset="0"/>
            </a:endParaRPr>
          </a:p>
        </p:txBody>
      </p:sp>
      <p:pic>
        <p:nvPicPr>
          <p:cNvPr id="1026" name="Picture 8" descr="RvR achtergrond powerpoint v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9" descr="RvR-logo-background-v2"/>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903385" y="6237289"/>
            <a:ext cx="5177367"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2"/>
          <p:cNvSpPr>
            <a:spLocks noGrp="1" noChangeArrowheads="1"/>
          </p:cNvSpPr>
          <p:nvPr>
            <p:ph type="title"/>
          </p:nvPr>
        </p:nvSpPr>
        <p:spPr bwMode="auto">
          <a:xfrm>
            <a:off x="624417" y="0"/>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nl-NL"/>
              <a:t>Klik om het opmaakprofiel te bewerken</a:t>
            </a:r>
          </a:p>
        </p:txBody>
      </p:sp>
      <p:sp>
        <p:nvSpPr>
          <p:cNvPr id="1029"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t>Klik om de opmaakprofielen van de modeltekst te bewerken</a:t>
            </a:r>
          </a:p>
          <a:p>
            <a:pPr lvl="1"/>
            <a:r>
              <a:rPr lang="nl-NL"/>
              <a:t>Tweede niveau</a:t>
            </a:r>
          </a:p>
          <a:p>
            <a:pPr lvl="2"/>
            <a:r>
              <a:rPr lang="nl-NL"/>
              <a:t>Derde niveau</a:t>
            </a:r>
          </a:p>
          <a:p>
            <a:pPr lvl="3"/>
            <a:r>
              <a:rPr lang="nl-NL"/>
              <a:t>Vierde niveau</a:t>
            </a:r>
          </a:p>
          <a:p>
            <a:pPr lvl="4"/>
            <a:r>
              <a:rPr lang="nl-NL"/>
              <a:t>Vijfd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fld id="{2C494383-82F6-4492-B7D3-6ECDFFCE2A55}" type="datetimeFigureOut">
              <a:rPr lang="nl-NL" smtClean="0"/>
              <a:t>18-3-2021</a:t>
            </a:fld>
            <a:endParaRPr lang="nl-NL"/>
          </a:p>
        </p:txBody>
      </p:sp>
      <p:sp>
        <p:nvSpPr>
          <p:cNvPr id="3"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endParaRPr lang="nl-NL"/>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CD1C61F8-EDA4-47DC-AE03-28DB4D79915E}" type="slidenum">
              <a:rPr lang="nl-NL" smtClean="0"/>
              <a:t>‹nr.›</a:t>
            </a:fld>
            <a:endParaRPr lang="nl-NL"/>
          </a:p>
        </p:txBody>
      </p:sp>
      <p:sp>
        <p:nvSpPr>
          <p:cNvPr id="9" name="Rechthoek 8" hidden="1">
            <a:extLst>
              <a:ext uri="{FF2B5EF4-FFF2-40B4-BE49-F238E27FC236}">
                <a16:creationId xmlns:a16="http://schemas.microsoft.com/office/drawing/2014/main" id="{DDE75935-6235-44FB-9F7F-371E1E090571}"/>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800" b="1" i="0" baseline="0">
              <a:latin typeface="Frutiger Bold Condensed"/>
              <a:ea typeface="+mj-ea"/>
              <a:cs typeface="Arial" panose="020B0604020202020204" pitchFamily="34" charset="0"/>
              <a:sym typeface="Frutiger Bold Condensed"/>
            </a:endParaRPr>
          </a:p>
        </p:txBody>
      </p:sp>
      <p:sp>
        <p:nvSpPr>
          <p:cNvPr id="10" name="Rechthoek 9" hidden="1">
            <a:extLst>
              <a:ext uri="{FF2B5EF4-FFF2-40B4-BE49-F238E27FC236}">
                <a16:creationId xmlns:a16="http://schemas.microsoft.com/office/drawing/2014/main" id="{AEFAB9BE-0C8D-401A-87A4-C257346E184E}"/>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400" b="0" i="0" baseline="0">
              <a:latin typeface="Frutiger Bold Condensed"/>
              <a:ea typeface="+mj-ea"/>
              <a:cs typeface="+mj-cs"/>
              <a:sym typeface="Frutiger Bold Condensed"/>
            </a:endParaRPr>
          </a:p>
        </p:txBody>
      </p:sp>
    </p:spTree>
    <p:extLst>
      <p:ext uri="{BB962C8B-B14F-4D97-AF65-F5344CB8AC3E}">
        <p14:creationId xmlns:p14="http://schemas.microsoft.com/office/powerpoint/2010/main" val="89191271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6" r:id="rId13"/>
    <p:sldLayoutId id="2147483727" r:id="rId14"/>
    <p:sldLayoutId id="2147483728" r:id="rId15"/>
  </p:sldLayoutIdLst>
  <p:txStyles>
    <p:titleStyle>
      <a:lvl1pPr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mj-lt"/>
          <a:ea typeface="+mj-ea"/>
          <a:cs typeface="+mj-cs"/>
        </a:defRPr>
      </a:lvl1pPr>
      <a:lvl2pPr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2pPr>
      <a:lvl3pPr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3pPr>
      <a:lvl4pPr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4pPr>
      <a:lvl5pPr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5pPr>
      <a:lvl6pPr marL="457200"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6pPr>
      <a:lvl7pPr marL="914400"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7pPr>
      <a:lvl8pPr marL="1371600"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8pPr>
      <a:lvl9pPr marL="1828800" algn="ctr" rtl="0" eaLnBrk="1" fontAlgn="base" hangingPunct="1">
        <a:spcBef>
          <a:spcPct val="0"/>
        </a:spcBef>
        <a:spcAft>
          <a:spcPct val="0"/>
        </a:spcAft>
        <a:defRPr sz="3800" b="1">
          <a:solidFill>
            <a:schemeClr val="accent1"/>
          </a:solidFill>
          <a:effectLst>
            <a:outerShdw blurRad="38100" dist="38100" dir="2700000" algn="tl">
              <a:srgbClr val="C0C0C0"/>
            </a:outerShdw>
          </a:effectLst>
          <a:latin typeface="Verdana" pitchFamily="34"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25.xml"/><Relationship Id="rId7" Type="http://schemas.openxmlformats.org/officeDocument/2006/relationships/diagramData" Target="../diagrams/data1.xml"/><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1.bin"/><Relationship Id="rId10" Type="http://schemas.openxmlformats.org/officeDocument/2006/relationships/diagramColors" Target="../diagrams/colors1.xml"/><Relationship Id="rId4" Type="http://schemas.openxmlformats.org/officeDocument/2006/relationships/slideLayout" Target="../slideLayouts/slideLayout14.xml"/><Relationship Id="rId9"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27.xml"/><Relationship Id="rId7" Type="http://schemas.openxmlformats.org/officeDocument/2006/relationships/image" Target="../media/image1.emf"/><Relationship Id="rId12" Type="http://schemas.microsoft.com/office/2007/relationships/diagramDrawing" Target="../diagrams/drawing2.xml"/><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diagramColors" Target="../diagrams/colors2.xml"/><Relationship Id="rId5" Type="http://schemas.openxmlformats.org/officeDocument/2006/relationships/notesSlide" Target="../notesSlides/notesSlide4.xml"/><Relationship Id="rId10" Type="http://schemas.openxmlformats.org/officeDocument/2006/relationships/diagramQuickStyle" Target="../diagrams/quickStyle2.xml"/><Relationship Id="rId4" Type="http://schemas.openxmlformats.org/officeDocument/2006/relationships/slideLayout" Target="../slideLayouts/slideLayout14.xml"/><Relationship Id="rId9"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29.xml"/><Relationship Id="rId7" Type="http://schemas.openxmlformats.org/officeDocument/2006/relationships/image" Target="../media/image1.emf"/><Relationship Id="rId12" Type="http://schemas.microsoft.com/office/2007/relationships/diagramDrawing" Target="../diagrams/drawing3.xml"/><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diagramColors" Target="../diagrams/colors3.xml"/><Relationship Id="rId5" Type="http://schemas.openxmlformats.org/officeDocument/2006/relationships/notesSlide" Target="../notesSlides/notesSlide5.xml"/><Relationship Id="rId10" Type="http://schemas.openxmlformats.org/officeDocument/2006/relationships/diagramQuickStyle" Target="../diagrams/quickStyle3.xml"/><Relationship Id="rId4" Type="http://schemas.openxmlformats.org/officeDocument/2006/relationships/slideLayout" Target="../slideLayouts/slideLayout14.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31.xml"/><Relationship Id="rId7" Type="http://schemas.openxmlformats.org/officeDocument/2006/relationships/image" Target="../media/image1.emf"/><Relationship Id="rId12" Type="http://schemas.microsoft.com/office/2007/relationships/diagramDrawing" Target="../diagrams/drawing4.xml"/><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diagramColors" Target="../diagrams/colors4.xml"/><Relationship Id="rId5" Type="http://schemas.openxmlformats.org/officeDocument/2006/relationships/notesSlide" Target="../notesSlides/notesSlide6.xml"/><Relationship Id="rId10" Type="http://schemas.openxmlformats.org/officeDocument/2006/relationships/diagramQuickStyle" Target="../diagrams/quickStyle4.xml"/><Relationship Id="rId4" Type="http://schemas.openxmlformats.org/officeDocument/2006/relationships/slideLayout" Target="../slideLayouts/slideLayout14.xml"/><Relationship Id="rId9"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tags" Target="../tags/tag41.xml"/><Relationship Id="rId7" Type="http://schemas.openxmlformats.org/officeDocument/2006/relationships/image" Target="../media/image1.emf"/><Relationship Id="rId12" Type="http://schemas.microsoft.com/office/2007/relationships/diagramDrawing" Target="../diagrams/drawing5.xml"/><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oleObject" Target="../embeddings/oleObject18.bin"/><Relationship Id="rId11" Type="http://schemas.openxmlformats.org/officeDocument/2006/relationships/diagramColors" Target="../diagrams/colors5.xml"/><Relationship Id="rId5" Type="http://schemas.openxmlformats.org/officeDocument/2006/relationships/notesSlide" Target="../notesSlides/notesSlide7.xml"/><Relationship Id="rId10" Type="http://schemas.openxmlformats.org/officeDocument/2006/relationships/diagramQuickStyle" Target="../diagrams/quickStyle5.xml"/><Relationship Id="rId4" Type="http://schemas.openxmlformats.org/officeDocument/2006/relationships/slideLayout" Target="../slideLayouts/slideLayout14.xml"/><Relationship Id="rId9"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43.xml"/><Relationship Id="rId7" Type="http://schemas.openxmlformats.org/officeDocument/2006/relationships/diagramData" Target="../diagrams/data6.xml"/><Relationship Id="rId2" Type="http://schemas.openxmlformats.org/officeDocument/2006/relationships/tags" Target="../tags/tag42.xml"/><Relationship Id="rId1" Type="http://schemas.openxmlformats.org/officeDocument/2006/relationships/vmlDrawing" Target="../drawings/vmlDrawing20.vml"/><Relationship Id="rId6" Type="http://schemas.openxmlformats.org/officeDocument/2006/relationships/image" Target="../media/image1.emf"/><Relationship Id="rId11" Type="http://schemas.microsoft.com/office/2007/relationships/diagramDrawing" Target="../diagrams/drawing6.xml"/><Relationship Id="rId5" Type="http://schemas.openxmlformats.org/officeDocument/2006/relationships/oleObject" Target="../embeddings/oleObject19.bin"/><Relationship Id="rId10" Type="http://schemas.openxmlformats.org/officeDocument/2006/relationships/diagramColors" Target="../diagrams/colors6.xml"/><Relationship Id="rId4" Type="http://schemas.openxmlformats.org/officeDocument/2006/relationships/slideLayout" Target="../slideLayouts/slideLayout14.xml"/><Relationship Id="rId9"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tags" Target="../tags/tag45.xml"/><Relationship Id="rId7" Type="http://schemas.openxmlformats.org/officeDocument/2006/relationships/diagramData" Target="../diagrams/data7.xml"/><Relationship Id="rId2" Type="http://schemas.openxmlformats.org/officeDocument/2006/relationships/tags" Target="../tags/tag44.xml"/><Relationship Id="rId1" Type="http://schemas.openxmlformats.org/officeDocument/2006/relationships/vmlDrawing" Target="../drawings/vmlDrawing21.vml"/><Relationship Id="rId6" Type="http://schemas.openxmlformats.org/officeDocument/2006/relationships/image" Target="../media/image1.emf"/><Relationship Id="rId11" Type="http://schemas.microsoft.com/office/2007/relationships/diagramDrawing" Target="../diagrams/drawing7.xml"/><Relationship Id="rId5" Type="http://schemas.openxmlformats.org/officeDocument/2006/relationships/oleObject" Target="../embeddings/oleObject20.bin"/><Relationship Id="rId10" Type="http://schemas.openxmlformats.org/officeDocument/2006/relationships/diagramColors" Target="../diagrams/colors7.xml"/><Relationship Id="rId4" Type="http://schemas.openxmlformats.org/officeDocument/2006/relationships/slideLayout" Target="../slideLayouts/slideLayout14.xml"/><Relationship Id="rId9"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tags" Target="../tags/tag47.xml"/><Relationship Id="rId7" Type="http://schemas.openxmlformats.org/officeDocument/2006/relationships/image" Target="../media/image1.emf"/><Relationship Id="rId12" Type="http://schemas.microsoft.com/office/2007/relationships/diagramDrawing" Target="../diagrams/drawing8.xml"/><Relationship Id="rId2" Type="http://schemas.openxmlformats.org/officeDocument/2006/relationships/tags" Target="../tags/tag46.xml"/><Relationship Id="rId1" Type="http://schemas.openxmlformats.org/officeDocument/2006/relationships/vmlDrawing" Target="../drawings/vmlDrawing22.vml"/><Relationship Id="rId6" Type="http://schemas.openxmlformats.org/officeDocument/2006/relationships/oleObject" Target="../embeddings/oleObject21.bin"/><Relationship Id="rId11" Type="http://schemas.openxmlformats.org/officeDocument/2006/relationships/diagramColors" Target="../diagrams/colors8.xml"/><Relationship Id="rId5" Type="http://schemas.openxmlformats.org/officeDocument/2006/relationships/slideLayout" Target="../slideLayouts/slideLayout14.xml"/><Relationship Id="rId10" Type="http://schemas.openxmlformats.org/officeDocument/2006/relationships/diagramQuickStyle" Target="../diagrams/quickStyle8.xml"/><Relationship Id="rId4" Type="http://schemas.openxmlformats.org/officeDocument/2006/relationships/tags" Target="../tags/tag48.xml"/><Relationship Id="rId9" Type="http://schemas.openxmlformats.org/officeDocument/2006/relationships/diagramLayout" Target="../diagrams/layout8.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tags" Target="../tags/tag50.xml"/><Relationship Id="rId7" Type="http://schemas.openxmlformats.org/officeDocument/2006/relationships/image" Target="../media/image1.emf"/><Relationship Id="rId12" Type="http://schemas.microsoft.com/office/2007/relationships/diagramDrawing" Target="../diagrams/drawing9.xml"/><Relationship Id="rId2" Type="http://schemas.openxmlformats.org/officeDocument/2006/relationships/tags" Target="../tags/tag49.xml"/><Relationship Id="rId1" Type="http://schemas.openxmlformats.org/officeDocument/2006/relationships/vmlDrawing" Target="../drawings/vmlDrawing23.vml"/><Relationship Id="rId6" Type="http://schemas.openxmlformats.org/officeDocument/2006/relationships/oleObject" Target="../embeddings/oleObject22.bin"/><Relationship Id="rId11" Type="http://schemas.openxmlformats.org/officeDocument/2006/relationships/diagramColors" Target="../diagrams/colors9.xml"/><Relationship Id="rId5" Type="http://schemas.openxmlformats.org/officeDocument/2006/relationships/slideLayout" Target="../slideLayouts/slideLayout14.xml"/><Relationship Id="rId10" Type="http://schemas.openxmlformats.org/officeDocument/2006/relationships/diagramQuickStyle" Target="../diagrams/quickStyle9.xml"/><Relationship Id="rId4" Type="http://schemas.openxmlformats.org/officeDocument/2006/relationships/tags" Target="../tags/tag51.xml"/><Relationship Id="rId9" Type="http://schemas.openxmlformats.org/officeDocument/2006/relationships/diagramLayout" Target="../diagrams/layout9.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tags" Target="../tags/tag53.xml"/><Relationship Id="rId7" Type="http://schemas.openxmlformats.org/officeDocument/2006/relationships/diagramData" Target="../diagrams/data10.xml"/><Relationship Id="rId2" Type="http://schemas.openxmlformats.org/officeDocument/2006/relationships/tags" Target="../tags/tag52.xml"/><Relationship Id="rId1" Type="http://schemas.openxmlformats.org/officeDocument/2006/relationships/vmlDrawing" Target="../drawings/vmlDrawing24.vml"/><Relationship Id="rId6" Type="http://schemas.openxmlformats.org/officeDocument/2006/relationships/image" Target="../media/image1.emf"/><Relationship Id="rId11" Type="http://schemas.microsoft.com/office/2007/relationships/diagramDrawing" Target="../diagrams/drawing10.xml"/><Relationship Id="rId5" Type="http://schemas.openxmlformats.org/officeDocument/2006/relationships/oleObject" Target="../embeddings/oleObject23.bin"/><Relationship Id="rId10" Type="http://schemas.openxmlformats.org/officeDocument/2006/relationships/diagramColors" Target="../diagrams/colors10.xml"/><Relationship Id="rId4" Type="http://schemas.openxmlformats.org/officeDocument/2006/relationships/slideLayout" Target="../slideLayouts/slideLayout14.xml"/><Relationship Id="rId9" Type="http://schemas.openxmlformats.org/officeDocument/2006/relationships/diagramQuickStyle" Target="../diagrams/quickStyle10.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tags" Target="../tags/tag55.xml"/><Relationship Id="rId7" Type="http://schemas.openxmlformats.org/officeDocument/2006/relationships/image" Target="../media/image1.emf"/><Relationship Id="rId12" Type="http://schemas.microsoft.com/office/2007/relationships/diagramDrawing" Target="../diagrams/drawing11.xml"/><Relationship Id="rId2" Type="http://schemas.openxmlformats.org/officeDocument/2006/relationships/tags" Target="../tags/tag54.xml"/><Relationship Id="rId1" Type="http://schemas.openxmlformats.org/officeDocument/2006/relationships/vmlDrawing" Target="../drawings/vmlDrawing25.vml"/><Relationship Id="rId6" Type="http://schemas.openxmlformats.org/officeDocument/2006/relationships/oleObject" Target="../embeddings/oleObject24.bin"/><Relationship Id="rId11" Type="http://schemas.openxmlformats.org/officeDocument/2006/relationships/diagramColors" Target="../diagrams/colors11.xml"/><Relationship Id="rId5" Type="http://schemas.openxmlformats.org/officeDocument/2006/relationships/notesSlide" Target="../notesSlides/notesSlide8.xml"/><Relationship Id="rId10" Type="http://schemas.openxmlformats.org/officeDocument/2006/relationships/diagramQuickStyle" Target="../diagrams/quickStyle11.xml"/><Relationship Id="rId4" Type="http://schemas.openxmlformats.org/officeDocument/2006/relationships/slideLayout" Target="../slideLayouts/slideLayout14.xml"/><Relationship Id="rId9"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tags" Target="../tags/tag57.xml"/><Relationship Id="rId7" Type="http://schemas.openxmlformats.org/officeDocument/2006/relationships/diagramData" Target="../diagrams/data12.xml"/><Relationship Id="rId2" Type="http://schemas.openxmlformats.org/officeDocument/2006/relationships/tags" Target="../tags/tag56.xml"/><Relationship Id="rId1" Type="http://schemas.openxmlformats.org/officeDocument/2006/relationships/vmlDrawing" Target="../drawings/vmlDrawing26.vml"/><Relationship Id="rId6" Type="http://schemas.openxmlformats.org/officeDocument/2006/relationships/image" Target="../media/image1.emf"/><Relationship Id="rId11" Type="http://schemas.microsoft.com/office/2007/relationships/diagramDrawing" Target="../diagrams/drawing12.xml"/><Relationship Id="rId5" Type="http://schemas.openxmlformats.org/officeDocument/2006/relationships/oleObject" Target="../embeddings/oleObject25.bin"/><Relationship Id="rId10" Type="http://schemas.openxmlformats.org/officeDocument/2006/relationships/diagramColors" Target="../diagrams/colors12.xml"/><Relationship Id="rId4" Type="http://schemas.openxmlformats.org/officeDocument/2006/relationships/slideLayout" Target="../slideLayouts/slideLayout14.xml"/><Relationship Id="rId9" Type="http://schemas.openxmlformats.org/officeDocument/2006/relationships/diagramQuickStyle" Target="../diagrams/quickStyle12.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tags" Target="../tags/tag59.xml"/><Relationship Id="rId7" Type="http://schemas.openxmlformats.org/officeDocument/2006/relationships/diagramData" Target="../diagrams/data13.xml"/><Relationship Id="rId2" Type="http://schemas.openxmlformats.org/officeDocument/2006/relationships/tags" Target="../tags/tag58.xml"/><Relationship Id="rId1" Type="http://schemas.openxmlformats.org/officeDocument/2006/relationships/vmlDrawing" Target="../drawings/vmlDrawing27.vml"/><Relationship Id="rId6" Type="http://schemas.openxmlformats.org/officeDocument/2006/relationships/image" Target="../media/image1.emf"/><Relationship Id="rId11" Type="http://schemas.microsoft.com/office/2007/relationships/diagramDrawing" Target="../diagrams/drawing13.xml"/><Relationship Id="rId5" Type="http://schemas.openxmlformats.org/officeDocument/2006/relationships/oleObject" Target="../embeddings/oleObject26.bin"/><Relationship Id="rId10" Type="http://schemas.openxmlformats.org/officeDocument/2006/relationships/diagramColors" Target="../diagrams/colors13.xml"/><Relationship Id="rId4" Type="http://schemas.openxmlformats.org/officeDocument/2006/relationships/slideLayout" Target="../slideLayouts/slideLayout14.xml"/><Relationship Id="rId9" Type="http://schemas.openxmlformats.org/officeDocument/2006/relationships/diagramQuickStyle" Target="../diagrams/quickStyle13.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tags" Target="../tags/tag61.xml"/><Relationship Id="rId7" Type="http://schemas.openxmlformats.org/officeDocument/2006/relationships/diagramData" Target="../diagrams/data14.xml"/><Relationship Id="rId2" Type="http://schemas.openxmlformats.org/officeDocument/2006/relationships/tags" Target="../tags/tag60.xml"/><Relationship Id="rId1" Type="http://schemas.openxmlformats.org/officeDocument/2006/relationships/vmlDrawing" Target="../drawings/vmlDrawing28.vml"/><Relationship Id="rId6" Type="http://schemas.openxmlformats.org/officeDocument/2006/relationships/image" Target="../media/image1.emf"/><Relationship Id="rId11" Type="http://schemas.microsoft.com/office/2007/relationships/diagramDrawing" Target="../diagrams/drawing14.xml"/><Relationship Id="rId5" Type="http://schemas.openxmlformats.org/officeDocument/2006/relationships/oleObject" Target="../embeddings/oleObject27.bin"/><Relationship Id="rId10" Type="http://schemas.openxmlformats.org/officeDocument/2006/relationships/diagramColors" Target="../diagrams/colors14.xml"/><Relationship Id="rId4" Type="http://schemas.openxmlformats.org/officeDocument/2006/relationships/slideLayout" Target="../slideLayouts/slideLayout14.xml"/><Relationship Id="rId9" Type="http://schemas.openxmlformats.org/officeDocument/2006/relationships/diagramQuickStyle" Target="../diagrams/quickStyle14.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tags" Target="../tags/tag63.xml"/><Relationship Id="rId7" Type="http://schemas.openxmlformats.org/officeDocument/2006/relationships/diagramData" Target="../diagrams/data15.xml"/><Relationship Id="rId2" Type="http://schemas.openxmlformats.org/officeDocument/2006/relationships/tags" Target="../tags/tag62.xml"/><Relationship Id="rId1" Type="http://schemas.openxmlformats.org/officeDocument/2006/relationships/vmlDrawing" Target="../drawings/vmlDrawing29.vml"/><Relationship Id="rId6" Type="http://schemas.openxmlformats.org/officeDocument/2006/relationships/image" Target="../media/image1.emf"/><Relationship Id="rId11" Type="http://schemas.microsoft.com/office/2007/relationships/diagramDrawing" Target="../diagrams/drawing15.xml"/><Relationship Id="rId5" Type="http://schemas.openxmlformats.org/officeDocument/2006/relationships/oleObject" Target="../embeddings/oleObject28.bin"/><Relationship Id="rId10" Type="http://schemas.openxmlformats.org/officeDocument/2006/relationships/diagramColors" Target="../diagrams/colors15.xml"/><Relationship Id="rId4" Type="http://schemas.openxmlformats.org/officeDocument/2006/relationships/slideLayout" Target="../slideLayouts/slideLayout14.xml"/><Relationship Id="rId9" Type="http://schemas.openxmlformats.org/officeDocument/2006/relationships/diagramQuickStyle" Target="../diagrams/quickStyle15.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tags" Target="../tags/tag65.xml"/><Relationship Id="rId7" Type="http://schemas.openxmlformats.org/officeDocument/2006/relationships/diagramData" Target="../diagrams/data16.xml"/><Relationship Id="rId2" Type="http://schemas.openxmlformats.org/officeDocument/2006/relationships/tags" Target="../tags/tag64.xml"/><Relationship Id="rId1" Type="http://schemas.openxmlformats.org/officeDocument/2006/relationships/vmlDrawing" Target="../drawings/vmlDrawing30.vml"/><Relationship Id="rId6" Type="http://schemas.openxmlformats.org/officeDocument/2006/relationships/image" Target="../media/image1.emf"/><Relationship Id="rId11" Type="http://schemas.microsoft.com/office/2007/relationships/diagramDrawing" Target="../diagrams/drawing16.xml"/><Relationship Id="rId5" Type="http://schemas.openxmlformats.org/officeDocument/2006/relationships/oleObject" Target="../embeddings/oleObject29.bin"/><Relationship Id="rId10" Type="http://schemas.openxmlformats.org/officeDocument/2006/relationships/diagramColors" Target="../diagrams/colors16.xml"/><Relationship Id="rId4" Type="http://schemas.openxmlformats.org/officeDocument/2006/relationships/slideLayout" Target="../slideLayouts/slideLayout14.xml"/><Relationship Id="rId9" Type="http://schemas.openxmlformats.org/officeDocument/2006/relationships/diagramQuickStyle" Target="../diagrams/quickStyle16.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xml"/><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17.xml"/><Relationship Id="rId3" Type="http://schemas.openxmlformats.org/officeDocument/2006/relationships/tags" Target="../tags/tag67.xml"/><Relationship Id="rId7" Type="http://schemas.openxmlformats.org/officeDocument/2006/relationships/image" Target="../media/image1.emf"/><Relationship Id="rId12" Type="http://schemas.microsoft.com/office/2007/relationships/diagramDrawing" Target="../diagrams/drawing17.xml"/><Relationship Id="rId2" Type="http://schemas.openxmlformats.org/officeDocument/2006/relationships/tags" Target="../tags/tag66.xml"/><Relationship Id="rId1" Type="http://schemas.openxmlformats.org/officeDocument/2006/relationships/vmlDrawing" Target="../drawings/vmlDrawing31.vml"/><Relationship Id="rId6" Type="http://schemas.openxmlformats.org/officeDocument/2006/relationships/oleObject" Target="../embeddings/oleObject30.bin"/><Relationship Id="rId11" Type="http://schemas.openxmlformats.org/officeDocument/2006/relationships/diagramColors" Target="../diagrams/colors17.xml"/><Relationship Id="rId5" Type="http://schemas.openxmlformats.org/officeDocument/2006/relationships/notesSlide" Target="../notesSlides/notesSlide9.xml"/><Relationship Id="rId10" Type="http://schemas.openxmlformats.org/officeDocument/2006/relationships/diagramQuickStyle" Target="../diagrams/quickStyle17.xml"/><Relationship Id="rId4" Type="http://schemas.openxmlformats.org/officeDocument/2006/relationships/slideLayout" Target="../slideLayouts/slideLayout14.xml"/><Relationship Id="rId9" Type="http://schemas.openxmlformats.org/officeDocument/2006/relationships/diagramLayout" Target="../diagrams/layout17.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18.xml"/><Relationship Id="rId3" Type="http://schemas.openxmlformats.org/officeDocument/2006/relationships/tags" Target="../tags/tag69.xml"/><Relationship Id="rId7" Type="http://schemas.openxmlformats.org/officeDocument/2006/relationships/diagramData" Target="../diagrams/data18.xml"/><Relationship Id="rId2" Type="http://schemas.openxmlformats.org/officeDocument/2006/relationships/tags" Target="../tags/tag68.xml"/><Relationship Id="rId1" Type="http://schemas.openxmlformats.org/officeDocument/2006/relationships/vmlDrawing" Target="../drawings/vmlDrawing32.vml"/><Relationship Id="rId6" Type="http://schemas.openxmlformats.org/officeDocument/2006/relationships/image" Target="../media/image1.emf"/><Relationship Id="rId11" Type="http://schemas.microsoft.com/office/2007/relationships/diagramDrawing" Target="../diagrams/drawing18.xml"/><Relationship Id="rId5" Type="http://schemas.openxmlformats.org/officeDocument/2006/relationships/oleObject" Target="../embeddings/oleObject31.bin"/><Relationship Id="rId10" Type="http://schemas.openxmlformats.org/officeDocument/2006/relationships/diagramColors" Target="../diagrams/colors18.xml"/><Relationship Id="rId4" Type="http://schemas.openxmlformats.org/officeDocument/2006/relationships/slideLayout" Target="../slideLayouts/slideLayout14.xml"/><Relationship Id="rId9" Type="http://schemas.openxmlformats.org/officeDocument/2006/relationships/diagramQuickStyle" Target="../diagrams/quickStyle18.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tags" Target="../tags/tag71.xml"/><Relationship Id="rId7" Type="http://schemas.openxmlformats.org/officeDocument/2006/relationships/diagramData" Target="../diagrams/data19.xml"/><Relationship Id="rId2" Type="http://schemas.openxmlformats.org/officeDocument/2006/relationships/tags" Target="../tags/tag70.xml"/><Relationship Id="rId1" Type="http://schemas.openxmlformats.org/officeDocument/2006/relationships/vmlDrawing" Target="../drawings/vmlDrawing33.vml"/><Relationship Id="rId6" Type="http://schemas.openxmlformats.org/officeDocument/2006/relationships/image" Target="../media/image1.emf"/><Relationship Id="rId11" Type="http://schemas.microsoft.com/office/2007/relationships/diagramDrawing" Target="../diagrams/drawing19.xml"/><Relationship Id="rId5" Type="http://schemas.openxmlformats.org/officeDocument/2006/relationships/oleObject" Target="../embeddings/oleObject32.bin"/><Relationship Id="rId10" Type="http://schemas.openxmlformats.org/officeDocument/2006/relationships/diagramColors" Target="../diagrams/colors19.xml"/><Relationship Id="rId4" Type="http://schemas.openxmlformats.org/officeDocument/2006/relationships/slideLayout" Target="../slideLayouts/slideLayout14.xml"/><Relationship Id="rId9" Type="http://schemas.openxmlformats.org/officeDocument/2006/relationships/diagramQuickStyle" Target="../diagrams/quickStyle19.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20.xml"/><Relationship Id="rId3" Type="http://schemas.openxmlformats.org/officeDocument/2006/relationships/tags" Target="../tags/tag73.xml"/><Relationship Id="rId7" Type="http://schemas.openxmlformats.org/officeDocument/2006/relationships/diagramData" Target="../diagrams/data20.xml"/><Relationship Id="rId2" Type="http://schemas.openxmlformats.org/officeDocument/2006/relationships/tags" Target="../tags/tag72.xml"/><Relationship Id="rId1" Type="http://schemas.openxmlformats.org/officeDocument/2006/relationships/vmlDrawing" Target="../drawings/vmlDrawing34.vml"/><Relationship Id="rId6" Type="http://schemas.openxmlformats.org/officeDocument/2006/relationships/image" Target="../media/image1.emf"/><Relationship Id="rId11" Type="http://schemas.microsoft.com/office/2007/relationships/diagramDrawing" Target="../diagrams/drawing20.xml"/><Relationship Id="rId5" Type="http://schemas.openxmlformats.org/officeDocument/2006/relationships/oleObject" Target="../embeddings/oleObject33.bin"/><Relationship Id="rId10" Type="http://schemas.openxmlformats.org/officeDocument/2006/relationships/diagramColors" Target="../diagrams/colors20.xml"/><Relationship Id="rId4" Type="http://schemas.openxmlformats.org/officeDocument/2006/relationships/slideLayout" Target="../slideLayouts/slideLayout14.xml"/><Relationship Id="rId9" Type="http://schemas.openxmlformats.org/officeDocument/2006/relationships/diagramQuickStyle" Target="../diagrams/quickStyle20.xml"/></Relationships>
</file>

<file path=ppt/slides/_rels/slide34.xml.rels><?xml version="1.0" encoding="UTF-8" standalone="yes"?>
<Relationships xmlns="http://schemas.openxmlformats.org/package/2006/relationships"><Relationship Id="rId8" Type="http://schemas.openxmlformats.org/officeDocument/2006/relationships/diagramLayout" Target="../diagrams/layout21.xml"/><Relationship Id="rId3" Type="http://schemas.openxmlformats.org/officeDocument/2006/relationships/tags" Target="../tags/tag75.xml"/><Relationship Id="rId7" Type="http://schemas.openxmlformats.org/officeDocument/2006/relationships/diagramData" Target="../diagrams/data21.xml"/><Relationship Id="rId2" Type="http://schemas.openxmlformats.org/officeDocument/2006/relationships/tags" Target="../tags/tag74.xml"/><Relationship Id="rId1" Type="http://schemas.openxmlformats.org/officeDocument/2006/relationships/vmlDrawing" Target="../drawings/vmlDrawing35.vml"/><Relationship Id="rId6" Type="http://schemas.openxmlformats.org/officeDocument/2006/relationships/image" Target="../media/image1.emf"/><Relationship Id="rId11" Type="http://schemas.microsoft.com/office/2007/relationships/diagramDrawing" Target="../diagrams/drawing21.xml"/><Relationship Id="rId5" Type="http://schemas.openxmlformats.org/officeDocument/2006/relationships/oleObject" Target="../embeddings/oleObject34.bin"/><Relationship Id="rId10" Type="http://schemas.openxmlformats.org/officeDocument/2006/relationships/diagramColors" Target="../diagrams/colors21.xml"/><Relationship Id="rId4" Type="http://schemas.openxmlformats.org/officeDocument/2006/relationships/slideLayout" Target="../slideLayouts/slideLayout14.xml"/><Relationship Id="rId9" Type="http://schemas.openxmlformats.org/officeDocument/2006/relationships/diagramQuickStyle" Target="../diagrams/quickStyle21.xml"/></Relationships>
</file>

<file path=ppt/slides/_rels/slide3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tags" Target="../tags/tag21.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6E76A1-2A47-4668-993F-C8EBBB1E173F}"/>
              </a:ext>
            </a:extLst>
          </p:cNvPr>
          <p:cNvGraphicFramePr>
            <a:graphicFrameLocks noChangeAspect="1"/>
          </p:cNvGraphicFramePr>
          <p:nvPr>
            <p:custDataLst>
              <p:tags r:id="rId2"/>
            </p:custDataLst>
            <p:extLst>
              <p:ext uri="{D42A27DB-BD31-4B8C-83A1-F6EECF244321}">
                <p14:modId xmlns:p14="http://schemas.microsoft.com/office/powerpoint/2010/main" val="1023086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96E76A1-2A47-4668-993F-C8EBBB1E17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3DA632D-53F2-4660-9DB8-31B97AB0AA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0365934-CE35-43A3-913B-99A2410D5FAA}"/>
              </a:ext>
            </a:extLst>
          </p:cNvPr>
          <p:cNvSpPr>
            <a:spLocks noGrp="1"/>
          </p:cNvSpPr>
          <p:nvPr>
            <p:ph type="ctrTitle"/>
          </p:nvPr>
        </p:nvSpPr>
        <p:spPr/>
        <p:txBody>
          <a:bodyPr/>
          <a:lstStyle/>
          <a:p>
            <a:r>
              <a:rPr lang="nl-NL" dirty="0">
                <a:solidFill>
                  <a:srgbClr val="C00000"/>
                </a:solidFill>
              </a:rPr>
              <a:t>I-Strategie en I-Plan </a:t>
            </a:r>
            <a:br>
              <a:rPr lang="nl-NL" dirty="0">
                <a:solidFill>
                  <a:srgbClr val="C00000"/>
                </a:solidFill>
              </a:rPr>
            </a:br>
            <a:r>
              <a:rPr lang="nl-NL" dirty="0">
                <a:solidFill>
                  <a:srgbClr val="C00000"/>
                </a:solidFill>
              </a:rPr>
              <a:t>Raad voor Rechtsbijstand</a:t>
            </a:r>
            <a:br>
              <a:rPr lang="nl-NL" dirty="0">
                <a:solidFill>
                  <a:srgbClr val="C00000"/>
                </a:solidFill>
              </a:rPr>
            </a:br>
            <a:r>
              <a:rPr lang="nl-NL" dirty="0" smtClean="0">
                <a:solidFill>
                  <a:srgbClr val="C00000"/>
                </a:solidFill>
              </a:rPr>
              <a:t>2021-2025</a:t>
            </a:r>
            <a:endParaRPr lang="nl-NL" dirty="0">
              <a:solidFill>
                <a:srgbClr val="C00000"/>
              </a:solidFill>
            </a:endParaRPr>
          </a:p>
        </p:txBody>
      </p:sp>
    </p:spTree>
    <p:extLst>
      <p:ext uri="{BB962C8B-B14F-4D97-AF65-F5344CB8AC3E}">
        <p14:creationId xmlns:p14="http://schemas.microsoft.com/office/powerpoint/2010/main" val="40310611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7BB149-B4B1-4432-8858-247F7D183C3A}"/>
              </a:ext>
            </a:extLst>
          </p:cNvPr>
          <p:cNvGraphicFramePr>
            <a:graphicFrameLocks noChangeAspect="1"/>
          </p:cNvGraphicFramePr>
          <p:nvPr>
            <p:custDataLst>
              <p:tags r:id="rId2"/>
            </p:custDataLst>
            <p:extLst>
              <p:ext uri="{D42A27DB-BD31-4B8C-83A1-F6EECF244321}">
                <p14:modId xmlns:p14="http://schemas.microsoft.com/office/powerpoint/2010/main" val="328804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257BB149-B4B1-4432-8858-247F7D183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97F67C51-27BC-427D-9018-8D682875C9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2" name="Tijdelijke aanduiding voor tekst 1">
            <a:extLst>
              <a:ext uri="{FF2B5EF4-FFF2-40B4-BE49-F238E27FC236}">
                <a16:creationId xmlns:a16="http://schemas.microsoft.com/office/drawing/2014/main" id="{292522B1-53F6-4E7C-B560-D8AA483B66FF}"/>
              </a:ext>
            </a:extLst>
          </p:cNvPr>
          <p:cNvSpPr>
            <a:spLocks noGrp="1"/>
          </p:cNvSpPr>
          <p:nvPr>
            <p:ph type="body" sz="quarter" idx="13"/>
          </p:nvPr>
        </p:nvSpPr>
        <p:spPr>
          <a:xfrm>
            <a:off x="507142" y="1427167"/>
            <a:ext cx="11186191" cy="3108974"/>
          </a:xfrm>
        </p:spPr>
        <p:txBody>
          <a:bodyPr/>
          <a:lstStyle/>
          <a:p>
            <a:r>
              <a:rPr lang="nl-NL"/>
              <a:t>De strategische </a:t>
            </a:r>
            <a:r>
              <a:rPr lang="nl-NL" err="1"/>
              <a:t>roadmap</a:t>
            </a:r>
            <a:r>
              <a:rPr lang="nl-NL"/>
              <a:t> uit de I-Strategie vertalen we met behulp van een </a:t>
            </a:r>
            <a:r>
              <a:rPr lang="nl-NL" b="1">
                <a:solidFill>
                  <a:srgbClr val="C00000"/>
                </a:solidFill>
              </a:rPr>
              <a:t>vijfjarenplanning</a:t>
            </a:r>
            <a:r>
              <a:rPr lang="nl-NL"/>
              <a:t> naar een aanpak voor de komende jaren. Concreet hebben we dit gedaan door per actielijn projecten te definiëren en deze over de jaren te mappen. Ook vormt dit vijfjarenplan het vertrekpunt voor het jaarlijkse i-Plan.</a:t>
            </a:r>
          </a:p>
          <a:p>
            <a:endParaRPr lang="nl-NL"/>
          </a:p>
          <a:p>
            <a:r>
              <a:rPr lang="nl-NL"/>
              <a:t>De actielijnen:</a:t>
            </a:r>
          </a:p>
          <a:p>
            <a:pPr marL="342900" indent="-342900">
              <a:buAutoNum type="arabicPeriod"/>
            </a:pPr>
            <a:r>
              <a:rPr lang="nl-NL" sz="1600" b="1">
                <a:solidFill>
                  <a:srgbClr val="C00000"/>
                </a:solidFill>
              </a:rPr>
              <a:t>Basis op orde </a:t>
            </a:r>
            <a:r>
              <a:rPr lang="nl-NL" sz="1600"/>
              <a:t>in ICT zodat er ruimte is voor innovatie en vernieuwing. </a:t>
            </a:r>
            <a:endParaRPr lang="nl-NL"/>
          </a:p>
          <a:p>
            <a:pPr marL="342900" indent="-342900">
              <a:buAutoNum type="arabicPeriod"/>
            </a:pPr>
            <a:r>
              <a:rPr lang="nl-NL" sz="1600" b="1">
                <a:solidFill>
                  <a:srgbClr val="C00000"/>
                </a:solidFill>
              </a:rPr>
              <a:t>Vernieuwing</a:t>
            </a:r>
            <a:r>
              <a:rPr lang="nl-NL" sz="1600"/>
              <a:t> van ICT om een excellente uitvoer en wendbaarheid mogelijk te maken.</a:t>
            </a:r>
            <a:endParaRPr lang="nl-NL"/>
          </a:p>
          <a:p>
            <a:pPr marL="342900" indent="-342900">
              <a:buAutoNum type="arabicPeriod"/>
            </a:pPr>
            <a:r>
              <a:rPr lang="nl-NL" sz="1600" b="1">
                <a:solidFill>
                  <a:srgbClr val="C00000"/>
                </a:solidFill>
              </a:rPr>
              <a:t>Data</a:t>
            </a:r>
            <a:r>
              <a:rPr lang="nl-NL" sz="1600"/>
              <a:t> om een intern en extern kenniscentrum te faciliteren.</a:t>
            </a:r>
            <a:endParaRPr lang="nl-NL"/>
          </a:p>
        </p:txBody>
      </p:sp>
      <p:sp>
        <p:nvSpPr>
          <p:cNvPr id="3" name="Titel 2">
            <a:extLst>
              <a:ext uri="{FF2B5EF4-FFF2-40B4-BE49-F238E27FC236}">
                <a16:creationId xmlns:a16="http://schemas.microsoft.com/office/drawing/2014/main" id="{E8FD4E99-C56F-45BA-A5D6-5A069B1E1802}"/>
              </a:ext>
            </a:extLst>
          </p:cNvPr>
          <p:cNvSpPr>
            <a:spLocks noGrp="1"/>
          </p:cNvSpPr>
          <p:nvPr>
            <p:ph type="title"/>
          </p:nvPr>
        </p:nvSpPr>
        <p:spPr/>
        <p:txBody>
          <a:bodyPr/>
          <a:lstStyle/>
          <a:p>
            <a:r>
              <a:rPr lang="nl-NL" sz="4000">
                <a:solidFill>
                  <a:srgbClr val="C00000"/>
                </a:solidFill>
              </a:rPr>
              <a:t>Een vijfjarenplan op grote lijnen</a:t>
            </a:r>
            <a:br>
              <a:rPr lang="nl-NL" sz="4000">
                <a:solidFill>
                  <a:srgbClr val="C00000"/>
                </a:solidFill>
              </a:rPr>
            </a:br>
            <a:r>
              <a:rPr lang="nl-NL" sz="2000">
                <a:solidFill>
                  <a:srgbClr val="000000"/>
                </a:solidFill>
              </a:rPr>
              <a:t>Om de </a:t>
            </a:r>
            <a:r>
              <a:rPr lang="nl-NL" sz="2000" err="1">
                <a:solidFill>
                  <a:srgbClr val="000000"/>
                </a:solidFill>
              </a:rPr>
              <a:t>roadmap</a:t>
            </a:r>
            <a:r>
              <a:rPr lang="nl-NL" sz="2000">
                <a:solidFill>
                  <a:srgbClr val="000000"/>
                </a:solidFill>
              </a:rPr>
              <a:t> te vertalen naar concrete actielijnen</a:t>
            </a:r>
            <a:endParaRPr lang="nl-NL" sz="4000">
              <a:solidFill>
                <a:srgbClr val="C00000"/>
              </a:solidFill>
            </a:endParaRPr>
          </a:p>
        </p:txBody>
      </p:sp>
      <p:graphicFrame>
        <p:nvGraphicFramePr>
          <p:cNvPr id="6" name="Diagram 5">
            <a:extLst>
              <a:ext uri="{FF2B5EF4-FFF2-40B4-BE49-F238E27FC236}">
                <a16:creationId xmlns:a16="http://schemas.microsoft.com/office/drawing/2014/main" id="{F21841FA-387C-4176-B115-CB17A4659369}"/>
              </a:ext>
            </a:extLst>
          </p:cNvPr>
          <p:cNvGraphicFramePr/>
          <p:nvPr>
            <p:extLst>
              <p:ext uri="{D42A27DB-BD31-4B8C-83A1-F6EECF244321}">
                <p14:modId xmlns:p14="http://schemas.microsoft.com/office/powerpoint/2010/main" val="847949177"/>
              </p:ext>
            </p:extLst>
          </p:nvPr>
        </p:nvGraphicFramePr>
        <p:xfrm>
          <a:off x="507142" y="4117131"/>
          <a:ext cx="11060441" cy="180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8965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2C6F83-C5C0-4A1A-923C-F9DD8D6E9FBE}"/>
              </a:ext>
            </a:extLst>
          </p:cNvPr>
          <p:cNvGraphicFramePr>
            <a:graphicFrameLocks noChangeAspect="1"/>
          </p:cNvGraphicFramePr>
          <p:nvPr>
            <p:custDataLst>
              <p:tags r:id="rId2"/>
            </p:custDataLst>
            <p:extLst>
              <p:ext uri="{D42A27DB-BD31-4B8C-83A1-F6EECF244321}">
                <p14:modId xmlns:p14="http://schemas.microsoft.com/office/powerpoint/2010/main" val="640947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A2C6F83-C5C0-4A1A-923C-F9DD8D6E9F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E280407-1137-40DB-A116-33306B3CBF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11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63F76B54-6260-4B9C-97FA-A08565EBCC5F}"/>
              </a:ext>
            </a:extLst>
          </p:cNvPr>
          <p:cNvSpPr>
            <a:spLocks noGrp="1"/>
          </p:cNvSpPr>
          <p:nvPr>
            <p:ph type="title"/>
          </p:nvPr>
        </p:nvSpPr>
        <p:spPr/>
        <p:txBody>
          <a:bodyPr/>
          <a:lstStyle/>
          <a:p>
            <a:r>
              <a:rPr lang="nl-NL" dirty="0">
                <a:solidFill>
                  <a:srgbClr val="C00000"/>
                </a:solidFill>
              </a:rPr>
              <a:t>Vijfjarenplan | Basis op orde</a:t>
            </a:r>
            <a:br>
              <a:rPr lang="nl-NL" dirty="0">
                <a:solidFill>
                  <a:srgbClr val="C00000"/>
                </a:solidFill>
              </a:rPr>
            </a:br>
            <a:r>
              <a:rPr lang="nl-NL" sz="1100" dirty="0">
                <a:solidFill>
                  <a:schemeClr val="tx1"/>
                </a:solidFill>
              </a:rPr>
              <a:t>In 2024 is de basis op orde in ICT zodat er ruimte is voor innovatie en vernieuwing. Dat omvat een landschap bestaande uit de technologieën waarmee we werken, processen waarlangs we werken en uitgangspunten die we hanteren.</a:t>
            </a:r>
          </a:p>
        </p:txBody>
      </p:sp>
      <p:graphicFrame>
        <p:nvGraphicFramePr>
          <p:cNvPr id="6" name="Diagram 5">
            <a:extLst>
              <a:ext uri="{FF2B5EF4-FFF2-40B4-BE49-F238E27FC236}">
                <a16:creationId xmlns:a16="http://schemas.microsoft.com/office/drawing/2014/main" id="{19AC7FAF-9763-46A0-9E33-645812FFAF13}"/>
              </a:ext>
            </a:extLst>
          </p:cNvPr>
          <p:cNvGraphicFramePr/>
          <p:nvPr>
            <p:extLst>
              <p:ext uri="{D42A27DB-BD31-4B8C-83A1-F6EECF244321}">
                <p14:modId xmlns:p14="http://schemas.microsoft.com/office/powerpoint/2010/main" val="2231622889"/>
              </p:ext>
            </p:extLst>
          </p:nvPr>
        </p:nvGraphicFramePr>
        <p:xfrm>
          <a:off x="89546" y="636007"/>
          <a:ext cx="12012891" cy="55715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Tabel 6">
            <a:extLst>
              <a:ext uri="{FF2B5EF4-FFF2-40B4-BE49-F238E27FC236}">
                <a16:creationId xmlns:a16="http://schemas.microsoft.com/office/drawing/2014/main" id="{D12349DB-50A7-45AC-B41F-A1E1E86BAD1D}"/>
              </a:ext>
            </a:extLst>
          </p:cNvPr>
          <p:cNvGraphicFramePr>
            <a:graphicFrameLocks noGrp="1"/>
          </p:cNvGraphicFramePr>
          <p:nvPr>
            <p:extLst>
              <p:ext uri="{D42A27DB-BD31-4B8C-83A1-F6EECF244321}">
                <p14:modId xmlns:p14="http://schemas.microsoft.com/office/powerpoint/2010/main" val="168574108"/>
              </p:ext>
            </p:extLst>
          </p:nvPr>
        </p:nvGraphicFramePr>
        <p:xfrm>
          <a:off x="89551" y="1049479"/>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dirty="0">
                        <a:solidFill>
                          <a:srgbClr val="C00000"/>
                        </a:solidFill>
                      </a:endParaRPr>
                    </a:p>
                  </a:txBody>
                  <a:tcPr anchor="ctr"/>
                </a:tc>
                <a:tc>
                  <a:txBody>
                    <a:bodyPr/>
                    <a:lstStyle/>
                    <a:p>
                      <a:pPr algn="ctr"/>
                      <a:r>
                        <a:rPr lang="nl-NL" sz="1200" b="1" dirty="0" smtClean="0">
                          <a:solidFill>
                            <a:srgbClr val="C00000"/>
                          </a:solidFill>
                        </a:rPr>
                        <a:t>2021</a:t>
                      </a:r>
                      <a:endParaRPr lang="nl-NL" sz="1200" b="1" dirty="0">
                        <a:solidFill>
                          <a:srgbClr val="C00000"/>
                        </a:solidFill>
                      </a:endParaRPr>
                    </a:p>
                  </a:txBody>
                  <a:tcPr anchor="ctr"/>
                </a:tc>
                <a:tc>
                  <a:txBody>
                    <a:bodyPr/>
                    <a:lstStyle/>
                    <a:p>
                      <a:pPr algn="ctr"/>
                      <a:r>
                        <a:rPr lang="nl-NL" sz="1200" b="1" dirty="0" smtClean="0">
                          <a:solidFill>
                            <a:srgbClr val="C00000"/>
                          </a:solidFill>
                        </a:rPr>
                        <a:t>2022</a:t>
                      </a:r>
                      <a:endParaRPr lang="nl-NL" sz="1200" b="1" dirty="0">
                        <a:solidFill>
                          <a:srgbClr val="C00000"/>
                        </a:solidFill>
                      </a:endParaRPr>
                    </a:p>
                  </a:txBody>
                  <a:tcPr anchor="ctr"/>
                </a:tc>
                <a:tc>
                  <a:txBody>
                    <a:bodyPr/>
                    <a:lstStyle/>
                    <a:p>
                      <a:pPr algn="ctr"/>
                      <a:r>
                        <a:rPr lang="nl-NL" sz="1200" b="1" dirty="0" smtClean="0">
                          <a:solidFill>
                            <a:srgbClr val="C00000"/>
                          </a:solidFill>
                        </a:rPr>
                        <a:t>2023</a:t>
                      </a:r>
                      <a:endParaRPr lang="nl-NL" sz="1200" b="1" dirty="0">
                        <a:solidFill>
                          <a:srgbClr val="C00000"/>
                        </a:solidFill>
                      </a:endParaRPr>
                    </a:p>
                  </a:txBody>
                  <a:tcPr anchor="ctr"/>
                </a:tc>
                <a:tc>
                  <a:txBody>
                    <a:bodyPr/>
                    <a:lstStyle/>
                    <a:p>
                      <a:pPr algn="ctr"/>
                      <a:r>
                        <a:rPr lang="nl-NL" sz="1200" b="1" dirty="0" smtClean="0">
                          <a:solidFill>
                            <a:srgbClr val="C00000"/>
                          </a:solidFill>
                        </a:rPr>
                        <a:t>2024</a:t>
                      </a:r>
                      <a:endParaRPr lang="nl-NL" sz="1200" b="1" dirty="0">
                        <a:solidFill>
                          <a:srgbClr val="C00000"/>
                        </a:solidFill>
                      </a:endParaRPr>
                    </a:p>
                  </a:txBody>
                  <a:tcPr anchor="ctr"/>
                </a:tc>
                <a:tc>
                  <a:txBody>
                    <a:bodyPr/>
                    <a:lstStyle/>
                    <a:p>
                      <a:pPr algn="ctr"/>
                      <a:r>
                        <a:rPr lang="nl-NL" sz="1200" b="1" dirty="0" smtClean="0">
                          <a:solidFill>
                            <a:srgbClr val="C00000"/>
                          </a:solidFill>
                        </a:rPr>
                        <a:t>2025</a:t>
                      </a:r>
                      <a:endParaRPr lang="nl-NL" sz="1200" b="1" dirty="0">
                        <a:solidFill>
                          <a:srgbClr val="C00000"/>
                        </a:solidFill>
                      </a:endParaRPr>
                    </a:p>
                  </a:txBody>
                  <a:tcPr anchor="ctr"/>
                </a:tc>
                <a:extLst>
                  <a:ext uri="{0D108BD9-81ED-4DB2-BD59-A6C34878D82A}">
                    <a16:rowId xmlns:a16="http://schemas.microsoft.com/office/drawing/2014/main" val="2546353752"/>
                  </a:ext>
                </a:extLst>
              </a:tr>
            </a:tbl>
          </a:graphicData>
        </a:graphic>
      </p:graphicFrame>
      <p:grpSp>
        <p:nvGrpSpPr>
          <p:cNvPr id="2" name="Groep 1"/>
          <p:cNvGrpSpPr/>
          <p:nvPr/>
        </p:nvGrpSpPr>
        <p:grpSpPr>
          <a:xfrm>
            <a:off x="89546" y="5334325"/>
            <a:ext cx="12007712" cy="720004"/>
            <a:chOff x="89549" y="5696464"/>
            <a:chExt cx="12007712" cy="720004"/>
          </a:xfrm>
        </p:grpSpPr>
        <p:grpSp>
          <p:nvGrpSpPr>
            <p:cNvPr id="8" name="Groep 7"/>
            <p:cNvGrpSpPr/>
            <p:nvPr/>
          </p:nvGrpSpPr>
          <p:grpSpPr>
            <a:xfrm>
              <a:off x="89549" y="5696465"/>
              <a:ext cx="1936184" cy="720000"/>
              <a:chOff x="0" y="4029708"/>
              <a:chExt cx="1936184" cy="770399"/>
            </a:xfrm>
          </p:grpSpPr>
          <p:sp>
            <p:nvSpPr>
              <p:cNvPr id="24" name="Punthaak 23"/>
              <p:cNvSpPr/>
              <p:nvPr/>
            </p:nvSpPr>
            <p:spPr>
              <a:xfrm>
                <a:off x="0" y="4029708"/>
                <a:ext cx="1936184" cy="770399"/>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Punthaak 4"/>
              <p:cNvSpPr txBox="1"/>
              <p:nvPr/>
            </p:nvSpPr>
            <p:spPr>
              <a:xfrm>
                <a:off x="385200" y="4029708"/>
                <a:ext cx="1165785" cy="7703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smtClean="0">
                    <a:solidFill>
                      <a:schemeClr val="bg1"/>
                    </a:solidFill>
                  </a:rPr>
                  <a:t>I-vakmanschap</a:t>
                </a:r>
              </a:p>
            </p:txBody>
          </p:sp>
        </p:grpSp>
        <p:grpSp>
          <p:nvGrpSpPr>
            <p:cNvPr id="9" name="Groep 8"/>
            <p:cNvGrpSpPr/>
            <p:nvPr/>
          </p:nvGrpSpPr>
          <p:grpSpPr>
            <a:xfrm>
              <a:off x="1726818" y="5696468"/>
              <a:ext cx="2287835" cy="720000"/>
              <a:chOff x="1637269" y="4029711"/>
              <a:chExt cx="2287835" cy="770397"/>
            </a:xfrm>
          </p:grpSpPr>
          <p:sp>
            <p:nvSpPr>
              <p:cNvPr id="22" name="Punthaak 21"/>
              <p:cNvSpPr/>
              <p:nvPr/>
            </p:nvSpPr>
            <p:spPr>
              <a:xfrm>
                <a:off x="1637269" y="4029711"/>
                <a:ext cx="2287835" cy="770397"/>
              </a:xfrm>
              <a:prstGeom prst="chevron">
                <a:avLst/>
              </a:prstGeom>
              <a:solidFill>
                <a:schemeClr val="accent1">
                  <a:lumMod val="90000"/>
                  <a:alpha val="90000"/>
                </a:schemeClr>
              </a:solidFill>
              <a:ln>
                <a:solidFill>
                  <a:schemeClr val="accent1">
                    <a:lumMod val="90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3" name="Punthaak 6"/>
              <p:cNvSpPr txBox="1"/>
              <p:nvPr/>
            </p:nvSpPr>
            <p:spPr>
              <a:xfrm>
                <a:off x="2022468" y="4029711"/>
                <a:ext cx="1517438" cy="77039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pPr>
                <a:r>
                  <a:rPr lang="nl-NL" sz="800" kern="1200" dirty="0" err="1" smtClean="0"/>
                  <a:t>Digicoaches</a:t>
                </a:r>
                <a:r>
                  <a:rPr lang="nl-NL" sz="800" kern="1200" dirty="0" smtClean="0"/>
                  <a:t> en vragenuurtje IM geïmplementeerd</a:t>
                </a:r>
              </a:p>
              <a:p>
                <a:pPr lvl="0" algn="ctr" defTabSz="400050">
                  <a:lnSpc>
                    <a:spcPct val="90000"/>
                  </a:lnSpc>
                  <a:spcBef>
                    <a:spcPct val="0"/>
                  </a:spcBef>
                  <a:spcAft>
                    <a:spcPts val="600"/>
                  </a:spcAft>
                </a:pPr>
                <a:r>
                  <a:rPr lang="nl-NL" sz="800" dirty="0" smtClean="0"/>
                  <a:t>Accenthouders IBP</a:t>
                </a:r>
              </a:p>
              <a:p>
                <a:pPr lvl="0" algn="ctr" defTabSz="400050">
                  <a:lnSpc>
                    <a:spcPct val="90000"/>
                  </a:lnSpc>
                  <a:spcBef>
                    <a:spcPct val="0"/>
                  </a:spcBef>
                  <a:spcAft>
                    <a:spcPts val="600"/>
                  </a:spcAft>
                </a:pPr>
                <a:r>
                  <a:rPr lang="nl-NL" sz="800" kern="1200" dirty="0" smtClean="0"/>
                  <a:t>Weerbaar </a:t>
                </a:r>
                <a:r>
                  <a:rPr lang="nl-NL" sz="800" kern="1200" dirty="0" err="1" smtClean="0"/>
                  <a:t>JenV</a:t>
                </a:r>
                <a:r>
                  <a:rPr lang="nl-NL" sz="800" kern="1200" dirty="0" smtClean="0"/>
                  <a:t> training</a:t>
                </a:r>
                <a:endParaRPr lang="nl-NL" sz="800" kern="1200" dirty="0"/>
              </a:p>
            </p:txBody>
          </p:sp>
        </p:grpSp>
        <p:grpSp>
          <p:nvGrpSpPr>
            <p:cNvPr id="10" name="Groep 9"/>
            <p:cNvGrpSpPr/>
            <p:nvPr/>
          </p:nvGrpSpPr>
          <p:grpSpPr>
            <a:xfrm>
              <a:off x="3747470" y="5696464"/>
              <a:ext cx="2287835" cy="720000"/>
              <a:chOff x="3657921" y="4029707"/>
              <a:chExt cx="2287835" cy="770404"/>
            </a:xfrm>
          </p:grpSpPr>
          <p:sp>
            <p:nvSpPr>
              <p:cNvPr id="20" name="Punthaak 19"/>
              <p:cNvSpPr/>
              <p:nvPr/>
            </p:nvSpPr>
            <p:spPr>
              <a:xfrm>
                <a:off x="3657921"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1" name="Punthaak 8"/>
              <p:cNvSpPr txBox="1"/>
              <p:nvPr/>
            </p:nvSpPr>
            <p:spPr>
              <a:xfrm>
                <a:off x="4043123"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 rIns="0" bIns="5715" numCol="1" spcCol="1270" anchor="ctr" anchorCtr="0">
                <a:noAutofit/>
              </a:bodyPr>
              <a:lstStyle/>
              <a:p>
                <a:pPr lvl="0" algn="ctr" defTabSz="400050">
                  <a:lnSpc>
                    <a:spcPct val="90000"/>
                  </a:lnSpc>
                  <a:spcBef>
                    <a:spcPct val="0"/>
                  </a:spcBef>
                  <a:spcAft>
                    <a:spcPts val="400"/>
                  </a:spcAft>
                </a:pPr>
                <a:r>
                  <a:rPr lang="nl-NL" sz="900" dirty="0" smtClean="0"/>
                  <a:t>….</a:t>
                </a:r>
                <a:endParaRPr lang="nl-NL" sz="900" kern="1200" dirty="0"/>
              </a:p>
            </p:txBody>
          </p:sp>
        </p:grpSp>
        <p:grpSp>
          <p:nvGrpSpPr>
            <p:cNvPr id="11" name="Groep 10"/>
            <p:cNvGrpSpPr/>
            <p:nvPr/>
          </p:nvGrpSpPr>
          <p:grpSpPr>
            <a:xfrm>
              <a:off x="5768122" y="5696464"/>
              <a:ext cx="2287835" cy="720000"/>
              <a:chOff x="5678573" y="4029707"/>
              <a:chExt cx="2287835" cy="770404"/>
            </a:xfrm>
          </p:grpSpPr>
          <p:sp>
            <p:nvSpPr>
              <p:cNvPr id="18" name="Punthaak 17"/>
              <p:cNvSpPr/>
              <p:nvPr/>
            </p:nvSpPr>
            <p:spPr>
              <a:xfrm>
                <a:off x="5678573"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9" name="Punthaak 10"/>
              <p:cNvSpPr txBox="1"/>
              <p:nvPr/>
            </p:nvSpPr>
            <p:spPr>
              <a:xfrm>
                <a:off x="6063775"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p:txBody>
          </p:sp>
        </p:grpSp>
        <p:grpSp>
          <p:nvGrpSpPr>
            <p:cNvPr id="12" name="Groep 11"/>
            <p:cNvGrpSpPr/>
            <p:nvPr/>
          </p:nvGrpSpPr>
          <p:grpSpPr>
            <a:xfrm>
              <a:off x="7788774" y="5696464"/>
              <a:ext cx="2287835" cy="720000"/>
              <a:chOff x="7699225" y="4029707"/>
              <a:chExt cx="2287835" cy="770404"/>
            </a:xfrm>
          </p:grpSpPr>
          <p:sp>
            <p:nvSpPr>
              <p:cNvPr id="16" name="Punthaak 15"/>
              <p:cNvSpPr/>
              <p:nvPr/>
            </p:nvSpPr>
            <p:spPr>
              <a:xfrm>
                <a:off x="7699225"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Punthaak 12"/>
              <p:cNvSpPr txBox="1"/>
              <p:nvPr/>
            </p:nvSpPr>
            <p:spPr>
              <a:xfrm>
                <a:off x="8084427"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p:txBody>
          </p:sp>
        </p:grpSp>
        <p:grpSp>
          <p:nvGrpSpPr>
            <p:cNvPr id="13" name="Groep 12"/>
            <p:cNvGrpSpPr/>
            <p:nvPr/>
          </p:nvGrpSpPr>
          <p:grpSpPr>
            <a:xfrm>
              <a:off x="9809426" y="5696464"/>
              <a:ext cx="2287835" cy="720000"/>
              <a:chOff x="9719877" y="4029707"/>
              <a:chExt cx="2287835" cy="770404"/>
            </a:xfrm>
          </p:grpSpPr>
          <p:sp>
            <p:nvSpPr>
              <p:cNvPr id="14" name="Punthaak 13"/>
              <p:cNvSpPr/>
              <p:nvPr/>
            </p:nvSpPr>
            <p:spPr>
              <a:xfrm>
                <a:off x="9719877"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5" name="Punthaak 14"/>
              <p:cNvSpPr txBox="1"/>
              <p:nvPr/>
            </p:nvSpPr>
            <p:spPr>
              <a:xfrm>
                <a:off x="10105079"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p:txBody>
          </p:sp>
        </p:grpSp>
      </p:grpSp>
      <p:grpSp>
        <p:nvGrpSpPr>
          <p:cNvPr id="26" name="Groep 25"/>
          <p:cNvGrpSpPr/>
          <p:nvPr/>
        </p:nvGrpSpPr>
        <p:grpSpPr>
          <a:xfrm>
            <a:off x="89546" y="6123574"/>
            <a:ext cx="12007712" cy="720004"/>
            <a:chOff x="89549" y="5696464"/>
            <a:chExt cx="12007712" cy="720004"/>
          </a:xfrm>
        </p:grpSpPr>
        <p:grpSp>
          <p:nvGrpSpPr>
            <p:cNvPr id="27" name="Groep 26"/>
            <p:cNvGrpSpPr/>
            <p:nvPr/>
          </p:nvGrpSpPr>
          <p:grpSpPr>
            <a:xfrm>
              <a:off x="89549" y="5696465"/>
              <a:ext cx="1936184" cy="720000"/>
              <a:chOff x="0" y="4029708"/>
              <a:chExt cx="1936184" cy="770399"/>
            </a:xfrm>
          </p:grpSpPr>
          <p:sp>
            <p:nvSpPr>
              <p:cNvPr id="43" name="Punthaak 42"/>
              <p:cNvSpPr/>
              <p:nvPr/>
            </p:nvSpPr>
            <p:spPr>
              <a:xfrm>
                <a:off x="0" y="4029708"/>
                <a:ext cx="1936184" cy="770399"/>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4" name="Punthaak 4"/>
              <p:cNvSpPr txBox="1"/>
              <p:nvPr/>
            </p:nvSpPr>
            <p:spPr>
              <a:xfrm>
                <a:off x="385200" y="4029708"/>
                <a:ext cx="1165785" cy="7703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smtClean="0">
                    <a:solidFill>
                      <a:schemeClr val="bg1"/>
                    </a:solidFill>
                  </a:rPr>
                  <a:t>Informatie-huishouding</a:t>
                </a:r>
              </a:p>
            </p:txBody>
          </p:sp>
        </p:grpSp>
        <p:grpSp>
          <p:nvGrpSpPr>
            <p:cNvPr id="28" name="Groep 27"/>
            <p:cNvGrpSpPr/>
            <p:nvPr/>
          </p:nvGrpSpPr>
          <p:grpSpPr>
            <a:xfrm>
              <a:off x="1726818" y="5696468"/>
              <a:ext cx="2287835" cy="720000"/>
              <a:chOff x="1637269" y="4029711"/>
              <a:chExt cx="2287835" cy="770397"/>
            </a:xfrm>
          </p:grpSpPr>
          <p:sp>
            <p:nvSpPr>
              <p:cNvPr id="41" name="Punthaak 40"/>
              <p:cNvSpPr/>
              <p:nvPr/>
            </p:nvSpPr>
            <p:spPr>
              <a:xfrm>
                <a:off x="1637269" y="4029711"/>
                <a:ext cx="2287835" cy="770397"/>
              </a:xfrm>
              <a:prstGeom prst="chevron">
                <a:avLst/>
              </a:prstGeom>
              <a:solidFill>
                <a:schemeClr val="accent1">
                  <a:lumMod val="90000"/>
                  <a:alpha val="90000"/>
                </a:schemeClr>
              </a:solidFill>
              <a:ln>
                <a:solidFill>
                  <a:schemeClr val="accent1">
                    <a:lumMod val="90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2" name="Punthaak 6"/>
              <p:cNvSpPr txBox="1"/>
              <p:nvPr/>
            </p:nvSpPr>
            <p:spPr>
              <a:xfrm>
                <a:off x="2022468" y="4029711"/>
                <a:ext cx="1517438" cy="77039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ts val="600"/>
                  </a:spcAft>
                </a:pPr>
                <a:r>
                  <a:rPr lang="nl-NL" sz="800" kern="1200" dirty="0" smtClean="0"/>
                  <a:t>Uitvoeren checklist informatiehuishouding</a:t>
                </a:r>
                <a:endParaRPr lang="nl-NL" sz="800" kern="1200" dirty="0"/>
              </a:p>
            </p:txBody>
          </p:sp>
        </p:grpSp>
        <p:grpSp>
          <p:nvGrpSpPr>
            <p:cNvPr id="29" name="Groep 28"/>
            <p:cNvGrpSpPr/>
            <p:nvPr/>
          </p:nvGrpSpPr>
          <p:grpSpPr>
            <a:xfrm>
              <a:off x="3747470" y="5696464"/>
              <a:ext cx="2287835" cy="720000"/>
              <a:chOff x="3657921" y="4029707"/>
              <a:chExt cx="2287835" cy="770404"/>
            </a:xfrm>
          </p:grpSpPr>
          <p:sp>
            <p:nvSpPr>
              <p:cNvPr id="39" name="Punthaak 38"/>
              <p:cNvSpPr/>
              <p:nvPr/>
            </p:nvSpPr>
            <p:spPr>
              <a:xfrm>
                <a:off x="3657921"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0" name="Punthaak 8"/>
              <p:cNvSpPr txBox="1"/>
              <p:nvPr/>
            </p:nvSpPr>
            <p:spPr>
              <a:xfrm>
                <a:off x="4043123"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 rIns="0" bIns="5715" numCol="1" spcCol="1270" anchor="ctr" anchorCtr="0">
                <a:noAutofit/>
              </a:bodyPr>
              <a:lstStyle/>
              <a:p>
                <a:pPr lvl="0" algn="ctr" defTabSz="400050">
                  <a:lnSpc>
                    <a:spcPct val="90000"/>
                  </a:lnSpc>
                  <a:spcBef>
                    <a:spcPct val="0"/>
                  </a:spcBef>
                  <a:spcAft>
                    <a:spcPts val="400"/>
                  </a:spcAft>
                </a:pPr>
                <a:r>
                  <a:rPr lang="nl-NL" sz="900" dirty="0" smtClean="0"/>
                  <a:t>Implementeren verbeterstappen uit checklist</a:t>
                </a:r>
                <a:endParaRPr lang="nl-NL" sz="900" kern="1200" dirty="0"/>
              </a:p>
            </p:txBody>
          </p:sp>
        </p:grpSp>
        <p:grpSp>
          <p:nvGrpSpPr>
            <p:cNvPr id="30" name="Groep 29"/>
            <p:cNvGrpSpPr/>
            <p:nvPr/>
          </p:nvGrpSpPr>
          <p:grpSpPr>
            <a:xfrm>
              <a:off x="5768122" y="5696464"/>
              <a:ext cx="2287835" cy="720000"/>
              <a:chOff x="5678573" y="4029707"/>
              <a:chExt cx="2287835" cy="770404"/>
            </a:xfrm>
          </p:grpSpPr>
          <p:sp>
            <p:nvSpPr>
              <p:cNvPr id="37" name="Punthaak 36"/>
              <p:cNvSpPr/>
              <p:nvPr/>
            </p:nvSpPr>
            <p:spPr>
              <a:xfrm>
                <a:off x="5678573"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8" name="Punthaak 10"/>
              <p:cNvSpPr txBox="1"/>
              <p:nvPr/>
            </p:nvSpPr>
            <p:spPr>
              <a:xfrm>
                <a:off x="6063775"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dirty="0"/>
                  <a:t>Implementeren verbeterstappen uit </a:t>
                </a:r>
                <a:r>
                  <a:rPr lang="nl-NL" sz="900" dirty="0" smtClean="0"/>
                  <a:t>checklist</a:t>
                </a:r>
                <a:endParaRPr lang="nl-NL" sz="900" dirty="0"/>
              </a:p>
            </p:txBody>
          </p:sp>
        </p:grpSp>
        <p:grpSp>
          <p:nvGrpSpPr>
            <p:cNvPr id="31" name="Groep 30"/>
            <p:cNvGrpSpPr/>
            <p:nvPr/>
          </p:nvGrpSpPr>
          <p:grpSpPr>
            <a:xfrm>
              <a:off x="7788774" y="5696464"/>
              <a:ext cx="2287835" cy="720000"/>
              <a:chOff x="7699225" y="4029707"/>
              <a:chExt cx="2287835" cy="770404"/>
            </a:xfrm>
          </p:grpSpPr>
          <p:sp>
            <p:nvSpPr>
              <p:cNvPr id="35" name="Punthaak 34"/>
              <p:cNvSpPr/>
              <p:nvPr/>
            </p:nvSpPr>
            <p:spPr>
              <a:xfrm>
                <a:off x="7699225"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6" name="Punthaak 12"/>
              <p:cNvSpPr txBox="1"/>
              <p:nvPr/>
            </p:nvSpPr>
            <p:spPr>
              <a:xfrm>
                <a:off x="8084427"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a:p>
            </p:txBody>
          </p:sp>
        </p:grpSp>
        <p:grpSp>
          <p:nvGrpSpPr>
            <p:cNvPr id="32" name="Groep 31"/>
            <p:cNvGrpSpPr/>
            <p:nvPr/>
          </p:nvGrpSpPr>
          <p:grpSpPr>
            <a:xfrm>
              <a:off x="9809426" y="5696464"/>
              <a:ext cx="2287835" cy="720000"/>
              <a:chOff x="9719877" y="4029707"/>
              <a:chExt cx="2287835" cy="770404"/>
            </a:xfrm>
          </p:grpSpPr>
          <p:sp>
            <p:nvSpPr>
              <p:cNvPr id="33" name="Punthaak 32"/>
              <p:cNvSpPr/>
              <p:nvPr/>
            </p:nvSpPr>
            <p:spPr>
              <a:xfrm>
                <a:off x="9719877" y="4029707"/>
                <a:ext cx="2287835" cy="770404"/>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4" name="Punthaak 14"/>
              <p:cNvSpPr txBox="1"/>
              <p:nvPr/>
            </p:nvSpPr>
            <p:spPr>
              <a:xfrm>
                <a:off x="10105079" y="4029707"/>
                <a:ext cx="1517431" cy="7704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p:txBody>
          </p:sp>
        </p:grpSp>
      </p:grpSp>
    </p:spTree>
    <p:extLst>
      <p:ext uri="{BB962C8B-B14F-4D97-AF65-F5344CB8AC3E}">
        <p14:creationId xmlns:p14="http://schemas.microsoft.com/office/powerpoint/2010/main" val="1264483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2C6F83-C5C0-4A1A-923C-F9DD8D6E9FBE}"/>
              </a:ext>
            </a:extLst>
          </p:cNvPr>
          <p:cNvGraphicFramePr>
            <a:graphicFrameLocks noChangeAspect="1"/>
          </p:cNvGraphicFramePr>
          <p:nvPr>
            <p:custDataLst>
              <p:tags r:id="rId2"/>
            </p:custDataLst>
            <p:extLst>
              <p:ext uri="{D42A27DB-BD31-4B8C-83A1-F6EECF244321}">
                <p14:modId xmlns:p14="http://schemas.microsoft.com/office/powerpoint/2010/main" val="144748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A2C6F83-C5C0-4A1A-923C-F9DD8D6E9F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E280407-1137-40DB-A116-33306B3CBF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11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63F76B54-6260-4B9C-97FA-A08565EBCC5F}"/>
              </a:ext>
            </a:extLst>
          </p:cNvPr>
          <p:cNvSpPr>
            <a:spLocks noGrp="1"/>
          </p:cNvSpPr>
          <p:nvPr>
            <p:ph type="title"/>
          </p:nvPr>
        </p:nvSpPr>
        <p:spPr/>
        <p:txBody>
          <a:bodyPr/>
          <a:lstStyle/>
          <a:p>
            <a:r>
              <a:rPr lang="nl-NL" dirty="0">
                <a:solidFill>
                  <a:srgbClr val="C00000"/>
                </a:solidFill>
              </a:rPr>
              <a:t>Vijfjarenplan | Vernieuwing</a:t>
            </a:r>
            <a:br>
              <a:rPr lang="nl-NL" dirty="0">
                <a:solidFill>
                  <a:srgbClr val="C00000"/>
                </a:solidFill>
              </a:rPr>
            </a:br>
            <a:r>
              <a:rPr lang="nl-NL" sz="1100" dirty="0">
                <a:solidFill>
                  <a:srgbClr val="000000"/>
                </a:solidFill>
              </a:rPr>
              <a:t>In 2024 maken we een excellente uitvoering en wendbaarheid mogelijk door de ICT te vernieuwen. In deze ontwikkeling van ICT is het niet meer de vraag wat kan, maar de vraag wat mag en wat we willen. We kijken daarbij naar vernieuwing die onze doelen ondersteunt.</a:t>
            </a:r>
            <a:endParaRPr lang="nl-NL" sz="1100" dirty="0">
              <a:solidFill>
                <a:schemeClr val="tx1"/>
              </a:solidFill>
            </a:endParaRPr>
          </a:p>
        </p:txBody>
      </p:sp>
      <p:graphicFrame>
        <p:nvGraphicFramePr>
          <p:cNvPr id="6" name="Diagram 5">
            <a:extLst>
              <a:ext uri="{FF2B5EF4-FFF2-40B4-BE49-F238E27FC236}">
                <a16:creationId xmlns:a16="http://schemas.microsoft.com/office/drawing/2014/main" id="{19AC7FAF-9763-46A0-9E33-645812FFAF13}"/>
              </a:ext>
            </a:extLst>
          </p:cNvPr>
          <p:cNvGraphicFramePr/>
          <p:nvPr>
            <p:extLst>
              <p:ext uri="{D42A27DB-BD31-4B8C-83A1-F6EECF244321}">
                <p14:modId xmlns:p14="http://schemas.microsoft.com/office/powerpoint/2010/main" val="801624965"/>
              </p:ext>
            </p:extLst>
          </p:nvPr>
        </p:nvGraphicFramePr>
        <p:xfrm>
          <a:off x="89555" y="1143001"/>
          <a:ext cx="12012891" cy="55715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Tabel 6">
            <a:extLst>
              <a:ext uri="{FF2B5EF4-FFF2-40B4-BE49-F238E27FC236}">
                <a16:creationId xmlns:a16="http://schemas.microsoft.com/office/drawing/2014/main" id="{B04AC6CA-5E6B-4573-A526-F24B5E259956}"/>
              </a:ext>
            </a:extLst>
          </p:cNvPr>
          <p:cNvGraphicFramePr>
            <a:graphicFrameLocks noGrp="1"/>
          </p:cNvGraphicFramePr>
          <p:nvPr>
            <p:extLst>
              <p:ext uri="{D42A27DB-BD31-4B8C-83A1-F6EECF244321}">
                <p14:modId xmlns:p14="http://schemas.microsoft.com/office/powerpoint/2010/main" val="2726435373"/>
              </p:ext>
            </p:extLst>
          </p:nvPr>
        </p:nvGraphicFramePr>
        <p:xfrm>
          <a:off x="939337" y="1036541"/>
          <a:ext cx="10761157" cy="274320"/>
        </p:xfrm>
        <a:graphic>
          <a:graphicData uri="http://schemas.openxmlformats.org/drawingml/2006/table">
            <a:tbl>
              <a:tblPr firstRow="1" bandRow="1">
                <a:tableStyleId>{2D5ABB26-0587-4C30-8999-92F81FD0307C}</a:tableStyleId>
              </a:tblPr>
              <a:tblGrid>
                <a:gridCol w="1310576">
                  <a:extLst>
                    <a:ext uri="{9D8B030D-6E8A-4147-A177-3AD203B41FA5}">
                      <a16:colId xmlns:a16="http://schemas.microsoft.com/office/drawing/2014/main" val="3967988472"/>
                    </a:ext>
                  </a:extLst>
                </a:gridCol>
                <a:gridCol w="1890116">
                  <a:extLst>
                    <a:ext uri="{9D8B030D-6E8A-4147-A177-3AD203B41FA5}">
                      <a16:colId xmlns:a16="http://schemas.microsoft.com/office/drawing/2014/main" val="878877256"/>
                    </a:ext>
                  </a:extLst>
                </a:gridCol>
                <a:gridCol w="1890116">
                  <a:extLst>
                    <a:ext uri="{9D8B030D-6E8A-4147-A177-3AD203B41FA5}">
                      <a16:colId xmlns:a16="http://schemas.microsoft.com/office/drawing/2014/main" val="845253564"/>
                    </a:ext>
                  </a:extLst>
                </a:gridCol>
                <a:gridCol w="1890116">
                  <a:extLst>
                    <a:ext uri="{9D8B030D-6E8A-4147-A177-3AD203B41FA5}">
                      <a16:colId xmlns:a16="http://schemas.microsoft.com/office/drawing/2014/main" val="3379797554"/>
                    </a:ext>
                  </a:extLst>
                </a:gridCol>
                <a:gridCol w="1520116">
                  <a:extLst>
                    <a:ext uri="{9D8B030D-6E8A-4147-A177-3AD203B41FA5}">
                      <a16:colId xmlns:a16="http://schemas.microsoft.com/office/drawing/2014/main" val="3294358006"/>
                    </a:ext>
                  </a:extLst>
                </a:gridCol>
                <a:gridCol w="2260117">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dirty="0" smtClean="0">
                          <a:solidFill>
                            <a:srgbClr val="C00000"/>
                          </a:solidFill>
                        </a:rPr>
                        <a:t>2021</a:t>
                      </a:r>
                      <a:endParaRPr lang="nl-NL" sz="1200" b="1" dirty="0">
                        <a:solidFill>
                          <a:srgbClr val="C00000"/>
                        </a:solidFill>
                      </a:endParaRPr>
                    </a:p>
                  </a:txBody>
                  <a:tcPr anchor="ctr"/>
                </a:tc>
                <a:tc>
                  <a:txBody>
                    <a:bodyPr/>
                    <a:lstStyle/>
                    <a:p>
                      <a:pPr algn="ctr"/>
                      <a:r>
                        <a:rPr lang="nl-NL" sz="1200" b="1" dirty="0" smtClean="0">
                          <a:solidFill>
                            <a:srgbClr val="C00000"/>
                          </a:solidFill>
                        </a:rPr>
                        <a:t>2022</a:t>
                      </a:r>
                      <a:endParaRPr lang="nl-NL" sz="1200" b="1" dirty="0">
                        <a:solidFill>
                          <a:srgbClr val="C00000"/>
                        </a:solidFill>
                      </a:endParaRPr>
                    </a:p>
                  </a:txBody>
                  <a:tcPr anchor="ctr"/>
                </a:tc>
                <a:tc>
                  <a:txBody>
                    <a:bodyPr/>
                    <a:lstStyle/>
                    <a:p>
                      <a:pPr algn="ctr"/>
                      <a:r>
                        <a:rPr lang="nl-NL" sz="1200" b="1" dirty="0" smtClean="0">
                          <a:solidFill>
                            <a:srgbClr val="C00000"/>
                          </a:solidFill>
                        </a:rPr>
                        <a:t>2023</a:t>
                      </a:r>
                      <a:endParaRPr lang="nl-NL" sz="1200" b="1" dirty="0">
                        <a:solidFill>
                          <a:srgbClr val="C00000"/>
                        </a:solidFill>
                      </a:endParaRPr>
                    </a:p>
                  </a:txBody>
                  <a:tcPr anchor="ctr"/>
                </a:tc>
                <a:tc>
                  <a:txBody>
                    <a:bodyPr/>
                    <a:lstStyle/>
                    <a:p>
                      <a:pPr algn="ctr"/>
                      <a:r>
                        <a:rPr lang="nl-NL" sz="1200" b="1" dirty="0" smtClean="0">
                          <a:solidFill>
                            <a:srgbClr val="C00000"/>
                          </a:solidFill>
                        </a:rPr>
                        <a:t>2024</a:t>
                      </a:r>
                      <a:endParaRPr lang="nl-NL" sz="1200" b="1" dirty="0">
                        <a:solidFill>
                          <a:srgbClr val="C00000"/>
                        </a:solidFill>
                      </a:endParaRPr>
                    </a:p>
                  </a:txBody>
                  <a:tcPr anchor="ctr"/>
                </a:tc>
                <a:tc>
                  <a:txBody>
                    <a:bodyPr/>
                    <a:lstStyle/>
                    <a:p>
                      <a:pPr algn="ctr"/>
                      <a:r>
                        <a:rPr lang="nl-NL" sz="1200" b="1" dirty="0" smtClean="0">
                          <a:solidFill>
                            <a:srgbClr val="C00000"/>
                          </a:solidFill>
                        </a:rPr>
                        <a:t>2025</a:t>
                      </a:r>
                      <a:endParaRPr lang="nl-NL" sz="1200" b="1" dirty="0">
                        <a:solidFill>
                          <a:srgbClr val="C00000"/>
                        </a:solidFill>
                      </a:endParaRPr>
                    </a:p>
                  </a:txBody>
                  <a:tcPr anchor="ctr"/>
                </a:tc>
                <a:extLst>
                  <a:ext uri="{0D108BD9-81ED-4DB2-BD59-A6C34878D82A}">
                    <a16:rowId xmlns:a16="http://schemas.microsoft.com/office/drawing/2014/main" val="2546353752"/>
                  </a:ext>
                </a:extLst>
              </a:tr>
            </a:tbl>
          </a:graphicData>
        </a:graphic>
      </p:graphicFrame>
      <p:grpSp>
        <p:nvGrpSpPr>
          <p:cNvPr id="8" name="Groep 7"/>
          <p:cNvGrpSpPr/>
          <p:nvPr/>
        </p:nvGrpSpPr>
        <p:grpSpPr>
          <a:xfrm>
            <a:off x="2118821" y="2104397"/>
            <a:ext cx="2066055" cy="878229"/>
            <a:chOff x="2768543" y="-905971"/>
            <a:chExt cx="2066055" cy="878229"/>
          </a:xfrm>
          <a:solidFill>
            <a:schemeClr val="accent1">
              <a:lumMod val="90000"/>
            </a:schemeClr>
          </a:solidFill>
        </p:grpSpPr>
        <p:sp>
          <p:nvSpPr>
            <p:cNvPr id="21" name="Punthaak 20"/>
            <p:cNvSpPr/>
            <p:nvPr/>
          </p:nvSpPr>
          <p:spPr>
            <a:xfrm>
              <a:off x="2768543" y="-905971"/>
              <a:ext cx="2066055" cy="827911"/>
            </a:xfrm>
            <a:prstGeom prst="chevron">
              <a:avLst/>
            </a:prstGeom>
            <a:grpFill/>
            <a:ln>
              <a:solidFill>
                <a:schemeClr val="accent1">
                  <a:lumMod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2" name="Punthaak 4"/>
            <p:cNvSpPr txBox="1"/>
            <p:nvPr/>
          </p:nvSpPr>
          <p:spPr>
            <a:xfrm>
              <a:off x="3182498" y="-855653"/>
              <a:ext cx="1238144" cy="827911"/>
            </a:xfrm>
            <a:prstGeom prst="rect">
              <a:avLst/>
            </a:prstGeom>
            <a:grpFill/>
            <a:ln>
              <a:solidFill>
                <a:schemeClr val="accent1">
                  <a:lumMod val="90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Tx/>
                <a:buNone/>
              </a:pPr>
              <a:r>
                <a:rPr lang="nl-NL" sz="900" kern="1200" dirty="0" smtClean="0">
                  <a:solidFill>
                    <a:schemeClr val="tx1"/>
                  </a:solidFill>
                </a:rPr>
                <a:t>Pilots &amp; experimenten</a:t>
              </a:r>
            </a:p>
            <a:p>
              <a:pPr lvl="0" algn="ctr" defTabSz="400050">
                <a:lnSpc>
                  <a:spcPct val="90000"/>
                </a:lnSpc>
                <a:spcBef>
                  <a:spcPct val="0"/>
                </a:spcBef>
                <a:spcAft>
                  <a:spcPct val="35000"/>
                </a:spcAft>
                <a:buFontTx/>
                <a:buNone/>
              </a:pPr>
              <a:r>
                <a:rPr lang="nl-NL" sz="900" kern="1200" dirty="0" smtClean="0">
                  <a:solidFill>
                    <a:schemeClr val="tx1"/>
                  </a:solidFill>
                </a:rPr>
                <a:t> </a:t>
              </a:r>
              <a:r>
                <a:rPr lang="nl-NL" sz="900" kern="1200" dirty="0" err="1" smtClean="0">
                  <a:solidFill>
                    <a:schemeClr val="tx1"/>
                  </a:solidFill>
                </a:rPr>
                <a:t>PvA</a:t>
              </a:r>
              <a:r>
                <a:rPr lang="nl-NL" sz="900" kern="1200" dirty="0" smtClean="0">
                  <a:solidFill>
                    <a:schemeClr val="tx1"/>
                  </a:solidFill>
                </a:rPr>
                <a:t> RHP onderzoek</a:t>
              </a:r>
            </a:p>
            <a:p>
              <a:pPr lvl="0" algn="ctr" defTabSz="400050">
                <a:lnSpc>
                  <a:spcPct val="90000"/>
                </a:lnSpc>
                <a:spcBef>
                  <a:spcPct val="0"/>
                </a:spcBef>
                <a:spcAft>
                  <a:spcPct val="35000"/>
                </a:spcAft>
                <a:buFontTx/>
                <a:buNone/>
              </a:pPr>
              <a:r>
                <a:rPr lang="nl-NL" sz="900" dirty="0" smtClean="0">
                  <a:solidFill>
                    <a:schemeClr val="tx1"/>
                  </a:solidFill>
                </a:rPr>
                <a:t>Experiment scheiden : P&amp;D catalogus en samenwerking 1</a:t>
              </a:r>
              <a:r>
                <a:rPr lang="nl-NL" sz="900" baseline="30000" dirty="0" smtClean="0">
                  <a:solidFill>
                    <a:schemeClr val="tx1"/>
                  </a:solidFill>
                </a:rPr>
                <a:t>e</a:t>
              </a:r>
              <a:r>
                <a:rPr lang="nl-NL" sz="900" dirty="0" smtClean="0">
                  <a:solidFill>
                    <a:schemeClr val="tx1"/>
                  </a:solidFill>
                </a:rPr>
                <a:t> lijn</a:t>
              </a:r>
              <a:endParaRPr lang="nl-NL" sz="900" kern="1200" dirty="0">
                <a:solidFill>
                  <a:schemeClr val="tx1"/>
                </a:solidFill>
              </a:endParaRPr>
            </a:p>
          </p:txBody>
        </p:sp>
      </p:grpSp>
      <p:grpSp>
        <p:nvGrpSpPr>
          <p:cNvPr id="9" name="Groep 8"/>
          <p:cNvGrpSpPr/>
          <p:nvPr/>
        </p:nvGrpSpPr>
        <p:grpSpPr>
          <a:xfrm>
            <a:off x="3906366" y="2085832"/>
            <a:ext cx="2066055" cy="827918"/>
            <a:chOff x="3887922" y="4673"/>
            <a:chExt cx="2066055" cy="827918"/>
          </a:xfrm>
        </p:grpSpPr>
        <p:sp>
          <p:nvSpPr>
            <p:cNvPr id="19" name="Punthaak 18"/>
            <p:cNvSpPr/>
            <p:nvPr/>
          </p:nvSpPr>
          <p:spPr>
            <a:xfrm>
              <a:off x="3887922" y="4673"/>
              <a:ext cx="2066055" cy="827918"/>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0" name="Punthaak 6"/>
            <p:cNvSpPr txBox="1"/>
            <p:nvPr/>
          </p:nvSpPr>
          <p:spPr>
            <a:xfrm>
              <a:off x="4301881" y="4673"/>
              <a:ext cx="1238137" cy="82791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buFont typeface="+mj-lt"/>
                <a:buNone/>
              </a:pPr>
              <a:r>
                <a:rPr lang="nl-NL" sz="900" kern="1200" dirty="0" smtClean="0">
                  <a:solidFill>
                    <a:schemeClr val="tx1"/>
                  </a:solidFill>
                </a:rPr>
                <a:t>Pilots &amp; experimenten</a:t>
              </a:r>
            </a:p>
            <a:p>
              <a:pPr lvl="0" algn="ctr" defTabSz="400050">
                <a:lnSpc>
                  <a:spcPct val="90000"/>
                </a:lnSpc>
                <a:spcBef>
                  <a:spcPct val="0"/>
                </a:spcBef>
                <a:spcAft>
                  <a:spcPct val="35000"/>
                </a:spcAft>
                <a:buFont typeface="+mj-lt"/>
                <a:buNone/>
              </a:pPr>
              <a:r>
                <a:rPr lang="nl-NL" sz="900" kern="1200" dirty="0" smtClean="0">
                  <a:solidFill>
                    <a:schemeClr val="tx1"/>
                  </a:solidFill>
                </a:rPr>
                <a:t>Uitvoering RHP </a:t>
              </a:r>
              <a:r>
                <a:rPr lang="nl-NL" sz="900" kern="1200" dirty="0" err="1" smtClean="0">
                  <a:solidFill>
                    <a:schemeClr val="tx1"/>
                  </a:solidFill>
                </a:rPr>
                <a:t>PvA</a:t>
              </a:r>
              <a:r>
                <a:rPr lang="nl-NL" sz="900" kern="1200" dirty="0" smtClean="0">
                  <a:solidFill>
                    <a:schemeClr val="tx1"/>
                  </a:solidFill>
                </a:rPr>
                <a:t> </a:t>
              </a:r>
              <a:endParaRPr lang="nl-NL" sz="900" kern="1200" dirty="0">
                <a:solidFill>
                  <a:schemeClr val="tx1"/>
                </a:solidFill>
              </a:endParaRPr>
            </a:p>
          </p:txBody>
        </p:sp>
      </p:grpSp>
      <p:grpSp>
        <p:nvGrpSpPr>
          <p:cNvPr id="10" name="Groep 9"/>
          <p:cNvGrpSpPr/>
          <p:nvPr/>
        </p:nvGrpSpPr>
        <p:grpSpPr>
          <a:xfrm>
            <a:off x="5693910" y="2104393"/>
            <a:ext cx="2066055" cy="827918"/>
            <a:chOff x="5712695" y="4673"/>
            <a:chExt cx="2066055" cy="827918"/>
          </a:xfrm>
        </p:grpSpPr>
        <p:sp>
          <p:nvSpPr>
            <p:cNvPr id="17" name="Punthaak 16"/>
            <p:cNvSpPr/>
            <p:nvPr/>
          </p:nvSpPr>
          <p:spPr>
            <a:xfrm>
              <a:off x="5712695" y="4673"/>
              <a:ext cx="2066055" cy="827918"/>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8" name="Punthaak 8"/>
            <p:cNvSpPr txBox="1"/>
            <p:nvPr/>
          </p:nvSpPr>
          <p:spPr>
            <a:xfrm>
              <a:off x="6126654" y="4673"/>
              <a:ext cx="1238137" cy="82791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Aft>
                  <a:spcPct val="35000"/>
                </a:spcAft>
              </a:pPr>
              <a:r>
                <a:rPr lang="nl-NL" sz="900" dirty="0">
                  <a:solidFill>
                    <a:schemeClr val="tx1"/>
                  </a:solidFill>
                </a:rPr>
                <a:t>Pilots &amp; experimenten</a:t>
              </a:r>
            </a:p>
            <a:p>
              <a:pPr lvl="0" algn="ctr" defTabSz="400050">
                <a:lnSpc>
                  <a:spcPct val="90000"/>
                </a:lnSpc>
                <a:spcAft>
                  <a:spcPct val="35000"/>
                </a:spcAft>
              </a:pPr>
              <a:r>
                <a:rPr lang="nl-NL" sz="900" dirty="0">
                  <a:solidFill>
                    <a:schemeClr val="tx1"/>
                  </a:solidFill>
                </a:rPr>
                <a:t>Uitvoering RHP </a:t>
              </a:r>
              <a:r>
                <a:rPr lang="nl-NL" sz="900" dirty="0" err="1">
                  <a:solidFill>
                    <a:schemeClr val="tx1"/>
                  </a:solidFill>
                </a:rPr>
                <a:t>PvA</a:t>
              </a:r>
              <a:r>
                <a:rPr lang="nl-NL" sz="900" dirty="0">
                  <a:solidFill>
                    <a:schemeClr val="tx1"/>
                  </a:solidFill>
                </a:rPr>
                <a:t> </a:t>
              </a:r>
            </a:p>
          </p:txBody>
        </p:sp>
      </p:grpSp>
      <p:grpSp>
        <p:nvGrpSpPr>
          <p:cNvPr id="11" name="Groep 10"/>
          <p:cNvGrpSpPr/>
          <p:nvPr/>
        </p:nvGrpSpPr>
        <p:grpSpPr>
          <a:xfrm>
            <a:off x="7568332" y="2099628"/>
            <a:ext cx="2066055" cy="858619"/>
            <a:chOff x="7518068" y="-26028"/>
            <a:chExt cx="2066055" cy="858619"/>
          </a:xfrm>
        </p:grpSpPr>
        <p:sp>
          <p:nvSpPr>
            <p:cNvPr id="15" name="Punthaak 14"/>
            <p:cNvSpPr/>
            <p:nvPr/>
          </p:nvSpPr>
          <p:spPr>
            <a:xfrm>
              <a:off x="7518068" y="-26028"/>
              <a:ext cx="2066055" cy="827918"/>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6" name="Punthaak 10"/>
            <p:cNvSpPr txBox="1"/>
            <p:nvPr/>
          </p:nvSpPr>
          <p:spPr>
            <a:xfrm>
              <a:off x="7951426" y="4673"/>
              <a:ext cx="1238137" cy="82791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Aft>
                  <a:spcPct val="35000"/>
                </a:spcAft>
              </a:pPr>
              <a:r>
                <a:rPr lang="nl-NL" sz="900" dirty="0">
                  <a:solidFill>
                    <a:schemeClr val="tx1"/>
                  </a:solidFill>
                </a:rPr>
                <a:t>Pilots &amp; experimenten</a:t>
              </a:r>
            </a:p>
            <a:p>
              <a:pPr lvl="0" algn="ctr" defTabSz="400050">
                <a:lnSpc>
                  <a:spcPct val="90000"/>
                </a:lnSpc>
                <a:spcAft>
                  <a:spcPct val="35000"/>
                </a:spcAft>
              </a:pPr>
              <a:r>
                <a:rPr lang="nl-NL" sz="900" dirty="0">
                  <a:solidFill>
                    <a:schemeClr val="tx1"/>
                  </a:solidFill>
                </a:rPr>
                <a:t>Uitvoering RHP </a:t>
              </a:r>
              <a:r>
                <a:rPr lang="nl-NL" sz="900" dirty="0" err="1">
                  <a:solidFill>
                    <a:schemeClr val="tx1"/>
                  </a:solidFill>
                </a:rPr>
                <a:t>PvA</a:t>
              </a:r>
              <a:r>
                <a:rPr lang="nl-NL" sz="900" dirty="0">
                  <a:solidFill>
                    <a:schemeClr val="tx1"/>
                  </a:solidFill>
                </a:rPr>
                <a:t> </a:t>
              </a:r>
            </a:p>
          </p:txBody>
        </p:sp>
      </p:grpSp>
      <p:grpSp>
        <p:nvGrpSpPr>
          <p:cNvPr id="12" name="Groep 11"/>
          <p:cNvGrpSpPr/>
          <p:nvPr/>
        </p:nvGrpSpPr>
        <p:grpSpPr>
          <a:xfrm>
            <a:off x="9426621" y="3028967"/>
            <a:ext cx="2066055" cy="827918"/>
            <a:chOff x="9362240" y="4673"/>
            <a:chExt cx="2066055" cy="827918"/>
          </a:xfrm>
        </p:grpSpPr>
        <p:sp>
          <p:nvSpPr>
            <p:cNvPr id="13" name="Punthaak 12"/>
            <p:cNvSpPr/>
            <p:nvPr/>
          </p:nvSpPr>
          <p:spPr>
            <a:xfrm>
              <a:off x="9362240" y="4673"/>
              <a:ext cx="2066055" cy="827918"/>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4" name="Punthaak 12"/>
            <p:cNvSpPr txBox="1"/>
            <p:nvPr/>
          </p:nvSpPr>
          <p:spPr>
            <a:xfrm>
              <a:off x="9776199" y="4673"/>
              <a:ext cx="1238137" cy="82791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p:txBody>
        </p:sp>
      </p:grpSp>
    </p:spTree>
    <p:extLst>
      <p:ext uri="{BB962C8B-B14F-4D97-AF65-F5344CB8AC3E}">
        <p14:creationId xmlns:p14="http://schemas.microsoft.com/office/powerpoint/2010/main" val="2694249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2C6F83-C5C0-4A1A-923C-F9DD8D6E9FBE}"/>
              </a:ext>
            </a:extLst>
          </p:cNvPr>
          <p:cNvGraphicFramePr>
            <a:graphicFrameLocks noChangeAspect="1"/>
          </p:cNvGraphicFramePr>
          <p:nvPr>
            <p:custDataLst>
              <p:tags r:id="rId2"/>
            </p:custDataLst>
            <p:extLst>
              <p:ext uri="{D42A27DB-BD31-4B8C-83A1-F6EECF244321}">
                <p14:modId xmlns:p14="http://schemas.microsoft.com/office/powerpoint/2010/main" val="3405767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A2C6F83-C5C0-4A1A-923C-F9DD8D6E9F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E280407-1137-40DB-A116-33306B3CBF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11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63F76B54-6260-4B9C-97FA-A08565EBCC5F}"/>
              </a:ext>
            </a:extLst>
          </p:cNvPr>
          <p:cNvSpPr>
            <a:spLocks noGrp="1"/>
          </p:cNvSpPr>
          <p:nvPr>
            <p:ph type="title"/>
          </p:nvPr>
        </p:nvSpPr>
        <p:spPr/>
        <p:txBody>
          <a:bodyPr/>
          <a:lstStyle/>
          <a:p>
            <a:r>
              <a:rPr lang="nl-NL" dirty="0">
                <a:solidFill>
                  <a:srgbClr val="C00000"/>
                </a:solidFill>
              </a:rPr>
              <a:t>Vijfjarenplan | Data</a:t>
            </a:r>
            <a:br>
              <a:rPr lang="nl-NL" dirty="0">
                <a:solidFill>
                  <a:srgbClr val="C00000"/>
                </a:solidFill>
              </a:rPr>
            </a:br>
            <a:r>
              <a:rPr lang="nl-NL" sz="1100" dirty="0">
                <a:solidFill>
                  <a:srgbClr val="000000"/>
                </a:solidFill>
              </a:rPr>
              <a:t>In 2024 stelt de ICT de Raad in staat om een intern en extern kenniscentrum te kunnen zijn. Op basis hiervan is het intern mogelijk om </a:t>
            </a:r>
            <a:r>
              <a:rPr lang="nl-NL" sz="1100" dirty="0" err="1">
                <a:solidFill>
                  <a:srgbClr val="000000"/>
                </a:solidFill>
              </a:rPr>
              <a:t>datagedreven</a:t>
            </a:r>
            <a:r>
              <a:rPr lang="nl-NL" sz="1100" dirty="0">
                <a:solidFill>
                  <a:srgbClr val="000000"/>
                </a:solidFill>
              </a:rPr>
              <a:t> beslissingen te nemen en kunnen extern ketenpartners </a:t>
            </a:r>
            <a:r>
              <a:rPr lang="nl-NL" sz="1100" dirty="0" err="1">
                <a:solidFill>
                  <a:srgbClr val="000000"/>
                </a:solidFill>
              </a:rPr>
              <a:t>datagedreven</a:t>
            </a:r>
            <a:r>
              <a:rPr lang="nl-NL" sz="1100" dirty="0">
                <a:solidFill>
                  <a:srgbClr val="000000"/>
                </a:solidFill>
              </a:rPr>
              <a:t> geadviseerd worden.</a:t>
            </a:r>
            <a:endParaRPr lang="nl-NL" sz="1100" dirty="0">
              <a:solidFill>
                <a:schemeClr val="tx1"/>
              </a:solidFill>
            </a:endParaRPr>
          </a:p>
        </p:txBody>
      </p:sp>
      <p:graphicFrame>
        <p:nvGraphicFramePr>
          <p:cNvPr id="6" name="Diagram 5">
            <a:extLst>
              <a:ext uri="{FF2B5EF4-FFF2-40B4-BE49-F238E27FC236}">
                <a16:creationId xmlns:a16="http://schemas.microsoft.com/office/drawing/2014/main" id="{19AC7FAF-9763-46A0-9E33-645812FFAF13}"/>
              </a:ext>
            </a:extLst>
          </p:cNvPr>
          <p:cNvGraphicFramePr/>
          <p:nvPr>
            <p:extLst>
              <p:ext uri="{D42A27DB-BD31-4B8C-83A1-F6EECF244321}">
                <p14:modId xmlns:p14="http://schemas.microsoft.com/office/powerpoint/2010/main" val="73288081"/>
              </p:ext>
            </p:extLst>
          </p:nvPr>
        </p:nvGraphicFramePr>
        <p:xfrm>
          <a:off x="8340" y="1038875"/>
          <a:ext cx="12012891" cy="47542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Tabel 6">
            <a:extLst>
              <a:ext uri="{FF2B5EF4-FFF2-40B4-BE49-F238E27FC236}">
                <a16:creationId xmlns:a16="http://schemas.microsoft.com/office/drawing/2014/main" id="{C2BA8DAD-CA23-4DFE-8D16-F12AFC07847E}"/>
              </a:ext>
            </a:extLst>
          </p:cNvPr>
          <p:cNvGraphicFramePr>
            <a:graphicFrameLocks noGrp="1"/>
          </p:cNvGraphicFramePr>
          <p:nvPr>
            <p:extLst>
              <p:ext uri="{D42A27DB-BD31-4B8C-83A1-F6EECF244321}">
                <p14:modId xmlns:p14="http://schemas.microsoft.com/office/powerpoint/2010/main" val="4155051238"/>
              </p:ext>
            </p:extLst>
          </p:nvPr>
        </p:nvGraphicFramePr>
        <p:xfrm>
          <a:off x="363374" y="1005840"/>
          <a:ext cx="11315595" cy="274320"/>
        </p:xfrm>
        <a:graphic>
          <a:graphicData uri="http://schemas.openxmlformats.org/drawingml/2006/table">
            <a:tbl>
              <a:tblPr firstRow="1" bandRow="1">
                <a:tableStyleId>{2D5ABB26-0587-4C30-8999-92F81FD0307C}</a:tableStyleId>
              </a:tblPr>
              <a:tblGrid>
                <a:gridCol w="1378100">
                  <a:extLst>
                    <a:ext uri="{9D8B030D-6E8A-4147-A177-3AD203B41FA5}">
                      <a16:colId xmlns:a16="http://schemas.microsoft.com/office/drawing/2014/main" val="3967988472"/>
                    </a:ext>
                  </a:extLst>
                </a:gridCol>
                <a:gridCol w="1987499">
                  <a:extLst>
                    <a:ext uri="{9D8B030D-6E8A-4147-A177-3AD203B41FA5}">
                      <a16:colId xmlns:a16="http://schemas.microsoft.com/office/drawing/2014/main" val="878877256"/>
                    </a:ext>
                  </a:extLst>
                </a:gridCol>
                <a:gridCol w="1987499">
                  <a:extLst>
                    <a:ext uri="{9D8B030D-6E8A-4147-A177-3AD203B41FA5}">
                      <a16:colId xmlns:a16="http://schemas.microsoft.com/office/drawing/2014/main" val="845253564"/>
                    </a:ext>
                  </a:extLst>
                </a:gridCol>
                <a:gridCol w="1987499">
                  <a:extLst>
                    <a:ext uri="{9D8B030D-6E8A-4147-A177-3AD203B41FA5}">
                      <a16:colId xmlns:a16="http://schemas.microsoft.com/office/drawing/2014/main" val="3379797554"/>
                    </a:ext>
                  </a:extLst>
                </a:gridCol>
                <a:gridCol w="1987499">
                  <a:extLst>
                    <a:ext uri="{9D8B030D-6E8A-4147-A177-3AD203B41FA5}">
                      <a16:colId xmlns:a16="http://schemas.microsoft.com/office/drawing/2014/main" val="3294358006"/>
                    </a:ext>
                  </a:extLst>
                </a:gridCol>
                <a:gridCol w="1987499">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dirty="0" smtClean="0">
                          <a:solidFill>
                            <a:srgbClr val="C00000"/>
                          </a:solidFill>
                        </a:rPr>
                        <a:t>2021</a:t>
                      </a:r>
                      <a:endParaRPr lang="nl-NL" sz="1200" b="1" dirty="0">
                        <a:solidFill>
                          <a:srgbClr val="C00000"/>
                        </a:solidFill>
                      </a:endParaRPr>
                    </a:p>
                  </a:txBody>
                  <a:tcPr anchor="ctr"/>
                </a:tc>
                <a:tc>
                  <a:txBody>
                    <a:bodyPr/>
                    <a:lstStyle/>
                    <a:p>
                      <a:pPr algn="ctr"/>
                      <a:r>
                        <a:rPr lang="nl-NL" sz="1200" b="1" dirty="0" smtClean="0">
                          <a:solidFill>
                            <a:srgbClr val="C00000"/>
                          </a:solidFill>
                        </a:rPr>
                        <a:t>2022</a:t>
                      </a:r>
                      <a:endParaRPr lang="nl-NL" sz="1200" b="1" dirty="0">
                        <a:solidFill>
                          <a:srgbClr val="C00000"/>
                        </a:solidFill>
                      </a:endParaRPr>
                    </a:p>
                  </a:txBody>
                  <a:tcPr anchor="ctr"/>
                </a:tc>
                <a:tc>
                  <a:txBody>
                    <a:bodyPr/>
                    <a:lstStyle/>
                    <a:p>
                      <a:pPr algn="ctr"/>
                      <a:r>
                        <a:rPr lang="nl-NL" sz="1200" b="1" dirty="0" smtClean="0">
                          <a:solidFill>
                            <a:srgbClr val="C00000"/>
                          </a:solidFill>
                        </a:rPr>
                        <a:t>2023</a:t>
                      </a:r>
                      <a:endParaRPr lang="nl-NL" sz="1200" b="1" dirty="0">
                        <a:solidFill>
                          <a:srgbClr val="C00000"/>
                        </a:solidFill>
                      </a:endParaRPr>
                    </a:p>
                  </a:txBody>
                  <a:tcPr anchor="ctr"/>
                </a:tc>
                <a:tc>
                  <a:txBody>
                    <a:bodyPr/>
                    <a:lstStyle/>
                    <a:p>
                      <a:pPr algn="ctr"/>
                      <a:r>
                        <a:rPr lang="nl-NL" sz="1200" b="1" dirty="0" smtClean="0">
                          <a:solidFill>
                            <a:srgbClr val="C00000"/>
                          </a:solidFill>
                        </a:rPr>
                        <a:t>2024</a:t>
                      </a:r>
                      <a:endParaRPr lang="nl-NL" sz="1200" b="1" dirty="0">
                        <a:solidFill>
                          <a:srgbClr val="C00000"/>
                        </a:solidFill>
                      </a:endParaRPr>
                    </a:p>
                  </a:txBody>
                  <a:tcPr anchor="ctr"/>
                </a:tc>
                <a:tc>
                  <a:txBody>
                    <a:bodyPr/>
                    <a:lstStyle/>
                    <a:p>
                      <a:pPr algn="ctr"/>
                      <a:r>
                        <a:rPr lang="nl-NL" sz="1200" b="1" dirty="0" smtClean="0">
                          <a:solidFill>
                            <a:srgbClr val="C00000"/>
                          </a:solidFill>
                        </a:rPr>
                        <a:t>2025</a:t>
                      </a:r>
                      <a:endParaRPr lang="nl-NL" sz="1200" b="1" dirty="0">
                        <a:solidFill>
                          <a:srgbClr val="C00000"/>
                        </a:solidFill>
                      </a:endParaRPr>
                    </a:p>
                  </a:txBody>
                  <a:tcPr anchor="ctr"/>
                </a:tc>
                <a:extLst>
                  <a:ext uri="{0D108BD9-81ED-4DB2-BD59-A6C34878D82A}">
                    <a16:rowId xmlns:a16="http://schemas.microsoft.com/office/drawing/2014/main" val="2546353752"/>
                  </a:ext>
                </a:extLst>
              </a:tr>
            </a:tbl>
          </a:graphicData>
        </a:graphic>
      </p:graphicFrame>
      <p:grpSp>
        <p:nvGrpSpPr>
          <p:cNvPr id="44" name="Groep 43"/>
          <p:cNvGrpSpPr/>
          <p:nvPr/>
        </p:nvGrpSpPr>
        <p:grpSpPr>
          <a:xfrm>
            <a:off x="0" y="5640239"/>
            <a:ext cx="11787421" cy="737999"/>
            <a:chOff x="0" y="5640239"/>
            <a:chExt cx="11787421" cy="737999"/>
          </a:xfrm>
        </p:grpSpPr>
        <p:grpSp>
          <p:nvGrpSpPr>
            <p:cNvPr id="26" name="Groep 25"/>
            <p:cNvGrpSpPr/>
            <p:nvPr/>
          </p:nvGrpSpPr>
          <p:grpSpPr>
            <a:xfrm>
              <a:off x="0" y="5640240"/>
              <a:ext cx="1936184" cy="737996"/>
              <a:chOff x="2588" y="3741668"/>
              <a:chExt cx="1936184" cy="737996"/>
            </a:xfrm>
          </p:grpSpPr>
          <p:sp>
            <p:nvSpPr>
              <p:cNvPr id="42" name="Punthaak 41"/>
              <p:cNvSpPr/>
              <p:nvPr/>
            </p:nvSpPr>
            <p:spPr>
              <a:xfrm>
                <a:off x="2588" y="3741668"/>
                <a:ext cx="1936184" cy="73799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3" name="Punthaak 4"/>
              <p:cNvSpPr txBox="1"/>
              <p:nvPr/>
            </p:nvSpPr>
            <p:spPr>
              <a:xfrm>
                <a:off x="371586" y="3741668"/>
                <a:ext cx="1198188" cy="7379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lvl="0" algn="ctr" defTabSz="444500">
                  <a:lnSpc>
                    <a:spcPct val="90000"/>
                  </a:lnSpc>
                  <a:spcBef>
                    <a:spcPct val="0"/>
                  </a:spcBef>
                  <a:spcAft>
                    <a:spcPct val="35000"/>
                  </a:spcAft>
                </a:pPr>
                <a:r>
                  <a:rPr lang="nl-NL" sz="1000" kern="1200" dirty="0" smtClean="0">
                    <a:solidFill>
                      <a:schemeClr val="bg1"/>
                    </a:solidFill>
                  </a:rPr>
                  <a:t>Regie op data</a:t>
                </a:r>
                <a:endParaRPr lang="nl-NL" sz="1000" kern="1200" dirty="0">
                  <a:solidFill>
                    <a:schemeClr val="bg1"/>
                  </a:solidFill>
                </a:endParaRPr>
              </a:p>
            </p:txBody>
          </p:sp>
        </p:grpSp>
        <p:grpSp>
          <p:nvGrpSpPr>
            <p:cNvPr id="27" name="Groep 26"/>
            <p:cNvGrpSpPr/>
            <p:nvPr/>
          </p:nvGrpSpPr>
          <p:grpSpPr>
            <a:xfrm>
              <a:off x="1637270" y="5640239"/>
              <a:ext cx="2068344" cy="737999"/>
              <a:chOff x="1639858" y="3741667"/>
              <a:chExt cx="2068344" cy="737999"/>
            </a:xfrm>
          </p:grpSpPr>
          <p:sp>
            <p:nvSpPr>
              <p:cNvPr id="40" name="Punthaak 39"/>
              <p:cNvSpPr/>
              <p:nvPr/>
            </p:nvSpPr>
            <p:spPr>
              <a:xfrm>
                <a:off x="1639858" y="3741667"/>
                <a:ext cx="2068344" cy="737999"/>
              </a:xfrm>
              <a:prstGeom prst="chevron">
                <a:avLst/>
              </a:prstGeom>
              <a:solidFill>
                <a:schemeClr val="accent1">
                  <a:lumMod val="90000"/>
                </a:schemeClr>
              </a:solidFill>
              <a:ln>
                <a:solidFill>
                  <a:schemeClr val="accent1">
                    <a:lumMod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unthaak 6"/>
              <p:cNvSpPr txBox="1"/>
              <p:nvPr/>
            </p:nvSpPr>
            <p:spPr>
              <a:xfrm>
                <a:off x="2008858" y="3741667"/>
                <a:ext cx="1330345" cy="7379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nl-NL" sz="800" dirty="0" smtClean="0"/>
                  <a:t>Visie op data afronden </a:t>
                </a:r>
              </a:p>
              <a:p>
                <a:pPr lvl="0" algn="ctr" defTabSz="355600">
                  <a:lnSpc>
                    <a:spcPct val="90000"/>
                  </a:lnSpc>
                  <a:spcBef>
                    <a:spcPct val="0"/>
                  </a:spcBef>
                  <a:spcAft>
                    <a:spcPct val="35000"/>
                  </a:spcAft>
                </a:pPr>
                <a:r>
                  <a:rPr lang="nl-NL" sz="800" dirty="0" smtClean="0"/>
                  <a:t>Vervolgstappen definiëren</a:t>
                </a:r>
              </a:p>
              <a:p>
                <a:pPr lvl="0" algn="ctr" defTabSz="355600">
                  <a:lnSpc>
                    <a:spcPct val="90000"/>
                  </a:lnSpc>
                  <a:spcBef>
                    <a:spcPct val="0"/>
                  </a:spcBef>
                  <a:spcAft>
                    <a:spcPct val="35000"/>
                  </a:spcAft>
                </a:pPr>
                <a:r>
                  <a:rPr lang="nl-NL" sz="800" kern="1200" dirty="0" smtClean="0"/>
                  <a:t>Data beleid compleet</a:t>
                </a:r>
              </a:p>
            </p:txBody>
          </p:sp>
        </p:grpSp>
        <p:grpSp>
          <p:nvGrpSpPr>
            <p:cNvPr id="28" name="Groep 27"/>
            <p:cNvGrpSpPr/>
            <p:nvPr/>
          </p:nvGrpSpPr>
          <p:grpSpPr>
            <a:xfrm>
              <a:off x="3438430" y="5640239"/>
              <a:ext cx="2287835" cy="737999"/>
              <a:chOff x="3441018" y="3741667"/>
              <a:chExt cx="2287835" cy="737999"/>
            </a:xfrm>
          </p:grpSpPr>
          <p:sp>
            <p:nvSpPr>
              <p:cNvPr id="38" name="Punthaak 37"/>
              <p:cNvSpPr/>
              <p:nvPr/>
            </p:nvSpPr>
            <p:spPr>
              <a:xfrm>
                <a:off x="3441018" y="3741667"/>
                <a:ext cx="2287835" cy="737999"/>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unthaak 8"/>
              <p:cNvSpPr txBox="1"/>
              <p:nvPr/>
            </p:nvSpPr>
            <p:spPr>
              <a:xfrm>
                <a:off x="3810018" y="3741667"/>
                <a:ext cx="1549836" cy="7379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160" tIns="5080" rIns="0" bIns="5080" numCol="1" spcCol="1270" anchor="ctr" anchorCtr="0">
                <a:noAutofit/>
              </a:bodyPr>
              <a:lstStyle/>
              <a:p>
                <a:pPr lvl="0" algn="ctr" defTabSz="355600">
                  <a:lnSpc>
                    <a:spcPct val="90000"/>
                  </a:lnSpc>
                  <a:spcAft>
                    <a:spcPct val="35000"/>
                  </a:spcAft>
                </a:pPr>
                <a:r>
                  <a:rPr lang="nl-NL" sz="800" dirty="0"/>
                  <a:t>Data autoriteit inrichten</a:t>
                </a:r>
              </a:p>
            </p:txBody>
          </p:sp>
        </p:grpSp>
        <p:grpSp>
          <p:nvGrpSpPr>
            <p:cNvPr id="29" name="Groep 28"/>
            <p:cNvGrpSpPr/>
            <p:nvPr/>
          </p:nvGrpSpPr>
          <p:grpSpPr>
            <a:xfrm>
              <a:off x="5459083" y="5640239"/>
              <a:ext cx="2287835" cy="737999"/>
              <a:chOff x="5461671" y="3741667"/>
              <a:chExt cx="2287835" cy="737999"/>
            </a:xfrm>
          </p:grpSpPr>
          <p:sp>
            <p:nvSpPr>
              <p:cNvPr id="36" name="Punthaak 35"/>
              <p:cNvSpPr/>
              <p:nvPr/>
            </p:nvSpPr>
            <p:spPr>
              <a:xfrm>
                <a:off x="5461671" y="3741667"/>
                <a:ext cx="2287835" cy="737999"/>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unthaak 10"/>
              <p:cNvSpPr txBox="1"/>
              <p:nvPr/>
            </p:nvSpPr>
            <p:spPr>
              <a:xfrm>
                <a:off x="5830671" y="3741667"/>
                <a:ext cx="1549836" cy="7379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a:t>
                </a:r>
                <a:endParaRPr lang="nl-NL" sz="900" kern="1200" dirty="0"/>
              </a:p>
            </p:txBody>
          </p:sp>
        </p:grpSp>
        <p:grpSp>
          <p:nvGrpSpPr>
            <p:cNvPr id="30" name="Groep 29"/>
            <p:cNvGrpSpPr/>
            <p:nvPr/>
          </p:nvGrpSpPr>
          <p:grpSpPr>
            <a:xfrm>
              <a:off x="7479735" y="5640239"/>
              <a:ext cx="2287835" cy="737999"/>
              <a:chOff x="7482323" y="3741667"/>
              <a:chExt cx="2287835" cy="737999"/>
            </a:xfrm>
          </p:grpSpPr>
          <p:sp>
            <p:nvSpPr>
              <p:cNvPr id="34" name="Punthaak 33"/>
              <p:cNvSpPr/>
              <p:nvPr/>
            </p:nvSpPr>
            <p:spPr>
              <a:xfrm>
                <a:off x="7482323" y="3741667"/>
                <a:ext cx="2287835" cy="737999"/>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unthaak 12"/>
              <p:cNvSpPr txBox="1"/>
              <p:nvPr/>
            </p:nvSpPr>
            <p:spPr>
              <a:xfrm>
                <a:off x="7851323" y="3741667"/>
                <a:ext cx="1549836" cy="7379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r>
                  <a:rPr lang="nl-NL" sz="900" kern="1200" dirty="0" smtClean="0"/>
                  <a:t>…</a:t>
                </a:r>
                <a:endParaRPr lang="nl-NL" sz="900" kern="1200" dirty="0"/>
              </a:p>
            </p:txBody>
          </p:sp>
        </p:grpSp>
        <p:grpSp>
          <p:nvGrpSpPr>
            <p:cNvPr id="31" name="Groep 30"/>
            <p:cNvGrpSpPr/>
            <p:nvPr/>
          </p:nvGrpSpPr>
          <p:grpSpPr>
            <a:xfrm>
              <a:off x="9500387" y="5640239"/>
              <a:ext cx="2287034" cy="737999"/>
              <a:chOff x="9502975" y="3741667"/>
              <a:chExt cx="2287034" cy="737999"/>
            </a:xfrm>
          </p:grpSpPr>
          <p:sp>
            <p:nvSpPr>
              <p:cNvPr id="32" name="Punthaak 31"/>
              <p:cNvSpPr/>
              <p:nvPr/>
            </p:nvSpPr>
            <p:spPr>
              <a:xfrm>
                <a:off x="9502975" y="3741667"/>
                <a:ext cx="2287034" cy="737999"/>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3" name="Punthaak 14"/>
              <p:cNvSpPr txBox="1"/>
              <p:nvPr/>
            </p:nvSpPr>
            <p:spPr>
              <a:xfrm>
                <a:off x="9871975" y="3741667"/>
                <a:ext cx="1549035" cy="7379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defTabSz="400050">
                  <a:lnSpc>
                    <a:spcPct val="90000"/>
                  </a:lnSpc>
                  <a:spcBef>
                    <a:spcPct val="0"/>
                  </a:spcBef>
                  <a:spcAft>
                    <a:spcPct val="35000"/>
                  </a:spcAft>
                </a:pPr>
                <a:endParaRPr lang="nl-NL" sz="900" kern="1200" dirty="0"/>
              </a:p>
            </p:txBody>
          </p:sp>
        </p:grpSp>
      </p:grpSp>
    </p:spTree>
    <p:extLst>
      <p:ext uri="{BB962C8B-B14F-4D97-AF65-F5344CB8AC3E}">
        <p14:creationId xmlns:p14="http://schemas.microsoft.com/office/powerpoint/2010/main" val="3506257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8314EE-E5C0-4D27-A2D5-DF382F717274}"/>
              </a:ext>
            </a:extLst>
          </p:cNvPr>
          <p:cNvGraphicFramePr>
            <a:graphicFrameLocks noChangeAspect="1"/>
          </p:cNvGraphicFramePr>
          <p:nvPr>
            <p:custDataLst>
              <p:tags r:id="rId2"/>
            </p:custDataLst>
            <p:extLst>
              <p:ext uri="{D42A27DB-BD31-4B8C-83A1-F6EECF244321}">
                <p14:modId xmlns:p14="http://schemas.microsoft.com/office/powerpoint/2010/main" val="33630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D68314EE-E5C0-4D27-A2D5-DF382F717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2BC0C525-65DC-4F16-B660-3E32F4A53D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F67766AB-A1A6-482D-B239-D73C1B4DFF6D}"/>
              </a:ext>
            </a:extLst>
          </p:cNvPr>
          <p:cNvSpPr>
            <a:spLocks noGrp="1"/>
          </p:cNvSpPr>
          <p:nvPr>
            <p:ph type="title"/>
          </p:nvPr>
        </p:nvSpPr>
        <p:spPr>
          <a:xfrm>
            <a:off x="609600" y="0"/>
            <a:ext cx="10972800" cy="1143000"/>
          </a:xfrm>
        </p:spPr>
        <p:txBody>
          <a:bodyPr/>
          <a:lstStyle/>
          <a:p>
            <a:r>
              <a:rPr lang="nl-NL" dirty="0" smtClean="0">
                <a:solidFill>
                  <a:srgbClr val="C00000"/>
                </a:solidFill>
              </a:rPr>
              <a:t>Versiebeheer</a:t>
            </a:r>
            <a:endParaRPr lang="nl-NL" dirty="0">
              <a:solidFill>
                <a:srgbClr val="C00000"/>
              </a:solidFill>
            </a:endParaRPr>
          </a:p>
        </p:txBody>
      </p:sp>
      <p:graphicFrame>
        <p:nvGraphicFramePr>
          <p:cNvPr id="7" name="Tabel 6"/>
          <p:cNvGraphicFramePr>
            <a:graphicFrameLocks noGrp="1"/>
          </p:cNvGraphicFramePr>
          <p:nvPr>
            <p:extLst>
              <p:ext uri="{D42A27DB-BD31-4B8C-83A1-F6EECF244321}">
                <p14:modId xmlns:p14="http://schemas.microsoft.com/office/powerpoint/2010/main" val="1539682790"/>
              </p:ext>
            </p:extLst>
          </p:nvPr>
        </p:nvGraphicFramePr>
        <p:xfrm>
          <a:off x="562397" y="1467812"/>
          <a:ext cx="11020003" cy="3484880"/>
        </p:xfrm>
        <a:graphic>
          <a:graphicData uri="http://schemas.openxmlformats.org/drawingml/2006/table">
            <a:tbl>
              <a:tblPr firstRow="1" bandRow="1">
                <a:tableStyleId>{5C22544A-7EE6-4342-B048-85BDC9FD1C3A}</a:tableStyleId>
              </a:tblPr>
              <a:tblGrid>
                <a:gridCol w="1410675">
                  <a:extLst>
                    <a:ext uri="{9D8B030D-6E8A-4147-A177-3AD203B41FA5}">
                      <a16:colId xmlns:a16="http://schemas.microsoft.com/office/drawing/2014/main" val="3511864758"/>
                    </a:ext>
                  </a:extLst>
                </a:gridCol>
                <a:gridCol w="1901654">
                  <a:extLst>
                    <a:ext uri="{9D8B030D-6E8A-4147-A177-3AD203B41FA5}">
                      <a16:colId xmlns:a16="http://schemas.microsoft.com/office/drawing/2014/main" val="1143601457"/>
                    </a:ext>
                  </a:extLst>
                </a:gridCol>
                <a:gridCol w="3858430">
                  <a:extLst>
                    <a:ext uri="{9D8B030D-6E8A-4147-A177-3AD203B41FA5}">
                      <a16:colId xmlns:a16="http://schemas.microsoft.com/office/drawing/2014/main" val="3549350757"/>
                    </a:ext>
                  </a:extLst>
                </a:gridCol>
                <a:gridCol w="3849244">
                  <a:extLst>
                    <a:ext uri="{9D8B030D-6E8A-4147-A177-3AD203B41FA5}">
                      <a16:colId xmlns:a16="http://schemas.microsoft.com/office/drawing/2014/main" val="3333488929"/>
                    </a:ext>
                  </a:extLst>
                </a:gridCol>
              </a:tblGrid>
              <a:tr h="370840">
                <a:tc>
                  <a:txBody>
                    <a:bodyPr/>
                    <a:lstStyle/>
                    <a:p>
                      <a:r>
                        <a:rPr lang="nl-NL" dirty="0" smtClean="0"/>
                        <a:t>Versie</a:t>
                      </a:r>
                      <a:endParaRPr lang="nl-NL" dirty="0"/>
                    </a:p>
                  </a:txBody>
                  <a:tcPr/>
                </a:tc>
                <a:tc>
                  <a:txBody>
                    <a:bodyPr/>
                    <a:lstStyle/>
                    <a:p>
                      <a:r>
                        <a:rPr lang="nl-NL" dirty="0" smtClean="0"/>
                        <a:t>Datum</a:t>
                      </a:r>
                      <a:endParaRPr lang="nl-NL" dirty="0"/>
                    </a:p>
                  </a:txBody>
                  <a:tcPr/>
                </a:tc>
                <a:tc>
                  <a:txBody>
                    <a:bodyPr/>
                    <a:lstStyle/>
                    <a:p>
                      <a:r>
                        <a:rPr lang="nl-NL" dirty="0" smtClean="0"/>
                        <a:t>Opgesteld door</a:t>
                      </a:r>
                      <a:endParaRPr lang="nl-NL" dirty="0"/>
                    </a:p>
                  </a:txBody>
                  <a:tcPr/>
                </a:tc>
                <a:tc>
                  <a:txBody>
                    <a:bodyPr/>
                    <a:lstStyle/>
                    <a:p>
                      <a:r>
                        <a:rPr lang="nl-NL" dirty="0" smtClean="0"/>
                        <a:t>Wijzigingen</a:t>
                      </a:r>
                      <a:endParaRPr lang="nl-NL" dirty="0"/>
                    </a:p>
                  </a:txBody>
                  <a:tcPr/>
                </a:tc>
                <a:extLst>
                  <a:ext uri="{0D108BD9-81ED-4DB2-BD59-A6C34878D82A}">
                    <a16:rowId xmlns:a16="http://schemas.microsoft.com/office/drawing/2014/main" val="3898266270"/>
                  </a:ext>
                </a:extLst>
              </a:tr>
              <a:tr h="370840">
                <a:tc>
                  <a:txBody>
                    <a:bodyPr/>
                    <a:lstStyle/>
                    <a:p>
                      <a:r>
                        <a:rPr lang="nl-NL" dirty="0" smtClean="0"/>
                        <a:t>1.3</a:t>
                      </a:r>
                      <a:endParaRPr lang="nl-NL" dirty="0"/>
                    </a:p>
                  </a:txBody>
                  <a:tcPr/>
                </a:tc>
                <a:tc>
                  <a:txBody>
                    <a:bodyPr/>
                    <a:lstStyle/>
                    <a:p>
                      <a:r>
                        <a:rPr lang="nl-NL" dirty="0" smtClean="0"/>
                        <a:t>22-1-2021</a:t>
                      </a:r>
                      <a:endParaRPr lang="nl-NL" dirty="0"/>
                    </a:p>
                  </a:txBody>
                  <a:tcPr/>
                </a:tc>
                <a:tc>
                  <a:txBody>
                    <a:bodyPr/>
                    <a:lstStyle/>
                    <a:p>
                      <a:r>
                        <a:rPr lang="nl-NL" baseline="0" dirty="0" smtClean="0"/>
                        <a:t>William van der Velden </a:t>
                      </a:r>
                      <a:endParaRPr lang="nl-NL" dirty="0"/>
                    </a:p>
                  </a:txBody>
                  <a:tcPr/>
                </a:tc>
                <a:tc>
                  <a:txBody>
                    <a:bodyPr/>
                    <a:lstStyle/>
                    <a:p>
                      <a:r>
                        <a:rPr lang="nl-NL" dirty="0" smtClean="0"/>
                        <a:t>Versie</a:t>
                      </a:r>
                      <a:r>
                        <a:rPr lang="nl-NL" baseline="0" dirty="0" smtClean="0"/>
                        <a:t> 2020 aangepast naar 2021</a:t>
                      </a:r>
                      <a:endParaRPr lang="nl-NL" dirty="0"/>
                    </a:p>
                  </a:txBody>
                  <a:tcPr/>
                </a:tc>
                <a:extLst>
                  <a:ext uri="{0D108BD9-81ED-4DB2-BD59-A6C34878D82A}">
                    <a16:rowId xmlns:a16="http://schemas.microsoft.com/office/drawing/2014/main" val="4052751349"/>
                  </a:ext>
                </a:extLst>
              </a:tr>
              <a:tr h="370840">
                <a:tc>
                  <a:txBody>
                    <a:bodyPr/>
                    <a:lstStyle/>
                    <a:p>
                      <a:r>
                        <a:rPr lang="nl-NL" dirty="0" smtClean="0"/>
                        <a:t>1.4</a:t>
                      </a:r>
                      <a:endParaRPr lang="nl-NL" dirty="0"/>
                    </a:p>
                  </a:txBody>
                  <a:tcPr/>
                </a:tc>
                <a:tc>
                  <a:txBody>
                    <a:bodyPr/>
                    <a:lstStyle/>
                    <a:p>
                      <a:r>
                        <a:rPr lang="nl-NL" dirty="0" smtClean="0"/>
                        <a:t>12-2-2021</a:t>
                      </a:r>
                      <a:endParaRPr lang="nl-NL" dirty="0"/>
                    </a:p>
                  </a:txBody>
                  <a:tcPr/>
                </a:tc>
                <a:tc>
                  <a:txBody>
                    <a:bodyPr/>
                    <a:lstStyle/>
                    <a:p>
                      <a:r>
                        <a:rPr lang="nl-NL" dirty="0" smtClean="0"/>
                        <a:t>William</a:t>
                      </a:r>
                      <a:r>
                        <a:rPr lang="nl-NL" baseline="0" dirty="0" smtClean="0"/>
                        <a:t> van der Velden, Bert Voorbraak, Renée van Poppel</a:t>
                      </a:r>
                      <a:endParaRPr lang="nl-NL" dirty="0"/>
                    </a:p>
                  </a:txBody>
                  <a:tcPr/>
                </a:tc>
                <a:tc>
                  <a:txBody>
                    <a:bodyPr/>
                    <a:lstStyle/>
                    <a:p>
                      <a:r>
                        <a:rPr lang="nl-NL" dirty="0" smtClean="0"/>
                        <a:t>- ‘Informatiehuishouding’ en ‘regie op data’ toegevoegd.</a:t>
                      </a:r>
                      <a:br>
                        <a:rPr lang="nl-NL" dirty="0" smtClean="0"/>
                      </a:br>
                      <a:r>
                        <a:rPr lang="nl-NL" dirty="0" smtClean="0"/>
                        <a:t>- Aanpassing in ‘stelselvernieuwing’ </a:t>
                      </a:r>
                      <a:endParaRPr lang="nl-NL" dirty="0"/>
                    </a:p>
                  </a:txBody>
                  <a:tcPr/>
                </a:tc>
                <a:extLst>
                  <a:ext uri="{0D108BD9-81ED-4DB2-BD59-A6C34878D82A}">
                    <a16:rowId xmlns:a16="http://schemas.microsoft.com/office/drawing/2014/main" val="884165573"/>
                  </a:ext>
                </a:extLst>
              </a:tr>
              <a:tr h="370840">
                <a:tc>
                  <a:txBody>
                    <a:bodyPr/>
                    <a:lstStyle/>
                    <a:p>
                      <a:endParaRPr lang="nl-NL" dirty="0"/>
                    </a:p>
                  </a:txBody>
                  <a:tcPr/>
                </a:tc>
                <a:tc>
                  <a:txBody>
                    <a:bodyPr/>
                    <a:lstStyle/>
                    <a:p>
                      <a:endParaRPr lang="nl-NL" dirty="0"/>
                    </a:p>
                  </a:txBody>
                  <a:tcPr/>
                </a:tc>
                <a:tc>
                  <a:txBody>
                    <a:bodyPr/>
                    <a:lstStyle/>
                    <a:p>
                      <a:endParaRPr lang="nl-NL" dirty="0"/>
                    </a:p>
                  </a:txBody>
                  <a:tcPr/>
                </a:tc>
                <a:tc>
                  <a:txBody>
                    <a:bodyPr/>
                    <a:lstStyle/>
                    <a:p>
                      <a:r>
                        <a:rPr lang="nl-NL" dirty="0" smtClean="0"/>
                        <a:t>Data</a:t>
                      </a:r>
                      <a:r>
                        <a:rPr lang="nl-NL" baseline="0" dirty="0" smtClean="0"/>
                        <a:t> ontwikkelingen terug laten komen n.a.v. rapport visie op data</a:t>
                      </a:r>
                      <a:endParaRPr lang="nl-NL" dirty="0"/>
                    </a:p>
                  </a:txBody>
                  <a:tcPr/>
                </a:tc>
                <a:extLst>
                  <a:ext uri="{0D108BD9-81ED-4DB2-BD59-A6C34878D82A}">
                    <a16:rowId xmlns:a16="http://schemas.microsoft.com/office/drawing/2014/main" val="2758161748"/>
                  </a:ext>
                </a:extLst>
              </a:tr>
              <a:tr h="370840">
                <a:tc>
                  <a:txBody>
                    <a:bodyPr/>
                    <a:lstStyle/>
                    <a:p>
                      <a:endParaRPr lang="nl-NL" dirty="0"/>
                    </a:p>
                  </a:txBody>
                  <a:tcPr/>
                </a:tc>
                <a:tc>
                  <a:txBody>
                    <a:bodyPr/>
                    <a:lstStyle/>
                    <a:p>
                      <a:endParaRPr lang="nl-NL" dirty="0"/>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131718518"/>
                  </a:ext>
                </a:extLst>
              </a:tr>
            </a:tbl>
          </a:graphicData>
        </a:graphic>
      </p:graphicFrame>
    </p:spTree>
    <p:extLst>
      <p:ext uri="{BB962C8B-B14F-4D97-AF65-F5344CB8AC3E}">
        <p14:creationId xmlns:p14="http://schemas.microsoft.com/office/powerpoint/2010/main" val="20633554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8314EE-E5C0-4D27-A2D5-DF382F717274}"/>
              </a:ext>
            </a:extLst>
          </p:cNvPr>
          <p:cNvGraphicFramePr>
            <a:graphicFrameLocks noChangeAspect="1"/>
          </p:cNvGraphicFramePr>
          <p:nvPr>
            <p:custDataLst>
              <p:tags r:id="rId2"/>
            </p:custDataLst>
            <p:extLst>
              <p:ext uri="{D42A27DB-BD31-4B8C-83A1-F6EECF244321}">
                <p14:modId xmlns:p14="http://schemas.microsoft.com/office/powerpoint/2010/main" val="33630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D68314EE-E5C0-4D27-A2D5-DF382F717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2BC0C525-65DC-4F16-B660-3E32F4A53D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2" name="Tijdelijke aanduiding voor tekst 1">
            <a:extLst>
              <a:ext uri="{FF2B5EF4-FFF2-40B4-BE49-F238E27FC236}">
                <a16:creationId xmlns:a16="http://schemas.microsoft.com/office/drawing/2014/main" id="{E0E0E55C-C747-47AC-9548-0BF520270EF5}"/>
              </a:ext>
            </a:extLst>
          </p:cNvPr>
          <p:cNvSpPr>
            <a:spLocks noGrp="1"/>
          </p:cNvSpPr>
          <p:nvPr>
            <p:ph type="body" sz="quarter" idx="13"/>
          </p:nvPr>
        </p:nvSpPr>
        <p:spPr>
          <a:xfrm>
            <a:off x="507142" y="1427166"/>
            <a:ext cx="11186191" cy="5015198"/>
          </a:xfrm>
        </p:spPr>
        <p:txBody>
          <a:bodyPr/>
          <a:lstStyle/>
          <a:p>
            <a:endParaRPr lang="nl-NL" dirty="0"/>
          </a:p>
        </p:txBody>
      </p:sp>
      <p:sp>
        <p:nvSpPr>
          <p:cNvPr id="3" name="Titel 2">
            <a:extLst>
              <a:ext uri="{FF2B5EF4-FFF2-40B4-BE49-F238E27FC236}">
                <a16:creationId xmlns:a16="http://schemas.microsoft.com/office/drawing/2014/main" id="{F67766AB-A1A6-482D-B239-D73C1B4DFF6D}"/>
              </a:ext>
            </a:extLst>
          </p:cNvPr>
          <p:cNvSpPr>
            <a:spLocks noGrp="1"/>
          </p:cNvSpPr>
          <p:nvPr>
            <p:ph type="title"/>
          </p:nvPr>
        </p:nvSpPr>
        <p:spPr>
          <a:xfrm>
            <a:off x="609600" y="0"/>
            <a:ext cx="10972800" cy="1143000"/>
          </a:xfrm>
        </p:spPr>
        <p:txBody>
          <a:bodyPr/>
          <a:lstStyle/>
          <a:p>
            <a:r>
              <a:rPr lang="nl-NL">
                <a:solidFill>
                  <a:srgbClr val="C00000"/>
                </a:solidFill>
              </a:rPr>
              <a:t>Wie hebben we gesproken</a:t>
            </a:r>
          </a:p>
        </p:txBody>
      </p:sp>
    </p:spTree>
    <p:extLst>
      <p:ext uri="{BB962C8B-B14F-4D97-AF65-F5344CB8AC3E}">
        <p14:creationId xmlns:p14="http://schemas.microsoft.com/office/powerpoint/2010/main" val="2506459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6E76A1-2A47-4668-993F-C8EBBB1E17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C96E76A1-2A47-4668-993F-C8EBBB1E17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3DA632D-53F2-4660-9DB8-31B97AB0AA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0365934-CE35-43A3-913B-99A2410D5FAA}"/>
              </a:ext>
            </a:extLst>
          </p:cNvPr>
          <p:cNvSpPr>
            <a:spLocks noGrp="1"/>
          </p:cNvSpPr>
          <p:nvPr>
            <p:ph type="ctrTitle"/>
          </p:nvPr>
        </p:nvSpPr>
        <p:spPr/>
        <p:txBody>
          <a:bodyPr/>
          <a:lstStyle/>
          <a:p>
            <a:r>
              <a:rPr lang="nl-NL" dirty="0">
                <a:solidFill>
                  <a:srgbClr val="C00000"/>
                </a:solidFill>
              </a:rPr>
              <a:t>I-Plan </a:t>
            </a:r>
            <a:r>
              <a:rPr lang="nl-NL" dirty="0" smtClean="0">
                <a:solidFill>
                  <a:srgbClr val="C00000"/>
                </a:solidFill>
              </a:rPr>
              <a:t>2021</a:t>
            </a:r>
            <a:r>
              <a:rPr lang="nl-NL" dirty="0">
                <a:solidFill>
                  <a:srgbClr val="C00000"/>
                </a:solidFill>
              </a:rPr>
              <a:t/>
            </a:r>
            <a:br>
              <a:rPr lang="nl-NL" dirty="0">
                <a:solidFill>
                  <a:srgbClr val="C00000"/>
                </a:solidFill>
              </a:rPr>
            </a:br>
            <a:r>
              <a:rPr lang="nl-NL" dirty="0">
                <a:solidFill>
                  <a:srgbClr val="C00000"/>
                </a:solidFill>
              </a:rPr>
              <a:t>Raad voor Rechtsbijstand</a:t>
            </a:r>
          </a:p>
        </p:txBody>
      </p:sp>
      <p:sp>
        <p:nvSpPr>
          <p:cNvPr id="3" name="Ondertitel 2">
            <a:extLst>
              <a:ext uri="{FF2B5EF4-FFF2-40B4-BE49-F238E27FC236}">
                <a16:creationId xmlns:a16="http://schemas.microsoft.com/office/drawing/2014/main" id="{30C4528F-6CDB-460C-BA04-ECAE01B7384E}"/>
              </a:ext>
            </a:extLst>
          </p:cNvPr>
          <p:cNvSpPr>
            <a:spLocks noGrp="1"/>
          </p:cNvSpPr>
          <p:nvPr>
            <p:ph type="subTitle" idx="1"/>
          </p:nvPr>
        </p:nvSpPr>
        <p:spPr/>
        <p:txBody>
          <a:bodyPr/>
          <a:lstStyle/>
          <a:p>
            <a:endParaRPr lang="nl-NL"/>
          </a:p>
        </p:txBody>
      </p:sp>
    </p:spTree>
    <p:extLst>
      <p:ext uri="{BB962C8B-B14F-4D97-AF65-F5344CB8AC3E}">
        <p14:creationId xmlns:p14="http://schemas.microsoft.com/office/powerpoint/2010/main" val="2553998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6528C7-F4AF-4674-850F-6461BF05B0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306528C7-F4AF-4674-850F-6461BF05B0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738D79A7-2CD2-4E68-A882-F324F06E12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2" name="Tijdelijke aanduiding voor tekst 1">
            <a:extLst>
              <a:ext uri="{FF2B5EF4-FFF2-40B4-BE49-F238E27FC236}">
                <a16:creationId xmlns:a16="http://schemas.microsoft.com/office/drawing/2014/main" id="{AD4D05EF-EFA6-4B28-9FF1-26CC645790D5}"/>
              </a:ext>
            </a:extLst>
          </p:cNvPr>
          <p:cNvSpPr>
            <a:spLocks noGrp="1"/>
          </p:cNvSpPr>
          <p:nvPr>
            <p:ph type="body" sz="quarter" idx="13"/>
          </p:nvPr>
        </p:nvSpPr>
        <p:spPr/>
        <p:txBody>
          <a:bodyPr/>
          <a:lstStyle/>
          <a:p>
            <a:pPr algn="just"/>
            <a:r>
              <a:rPr lang="nl-NL" sz="1200"/>
              <a:t>Technologische en maatschappelijke ontwikkelingen zullen in de toekomst de wereld van rechtsbijstand veranderen. Dat vraagt van de Raad voor Rechtsbijstand om mee te bewegen. Daarom heeft de Raad zich als doel gesteld om in de toekomst met wendbaarheid in te spelen op toekomstige veranderingen en daarbij een proactieve en vraaggerichte organisatie te zijn, die haar werk op excellente wijze uitvoert en als kenniscentrum voor de organisatie en keten fungeert.</a:t>
            </a:r>
          </a:p>
          <a:p>
            <a:pPr algn="just"/>
            <a:endParaRPr lang="nl-NL" sz="1200"/>
          </a:p>
          <a:p>
            <a:pPr algn="just"/>
            <a:r>
              <a:rPr lang="nl-NL" sz="1200"/>
              <a:t>In 2024 draagt ICT bij aan het realiseren van de doelen van de Raad. Door de </a:t>
            </a:r>
            <a:r>
              <a:rPr lang="nl-NL" sz="1200" b="1">
                <a:solidFill>
                  <a:srgbClr val="C00000"/>
                </a:solidFill>
              </a:rPr>
              <a:t>basis op orde </a:t>
            </a:r>
            <a:r>
              <a:rPr lang="nl-NL" sz="1200"/>
              <a:t>te brengen in ICT ontstaat ruimte voor innovatie en vernieuwing en maakt ICT de </a:t>
            </a:r>
            <a:r>
              <a:rPr lang="nl-NL" sz="1200" b="1">
                <a:solidFill>
                  <a:srgbClr val="C00000"/>
                </a:solidFill>
              </a:rPr>
              <a:t>excellente uitvoeringsorganisatie</a:t>
            </a:r>
            <a:r>
              <a:rPr lang="nl-NL" sz="1200"/>
              <a:t> mogelijk. Ook is ICT </a:t>
            </a:r>
            <a:r>
              <a:rPr lang="nl-NL" sz="1200" b="1">
                <a:solidFill>
                  <a:srgbClr val="C00000"/>
                </a:solidFill>
              </a:rPr>
              <a:t>wendbaar en vraaggericht </a:t>
            </a:r>
            <a:r>
              <a:rPr lang="nl-NL" sz="1200"/>
              <a:t>en speelt ICT een belangrijke rol in het </a:t>
            </a:r>
            <a:r>
              <a:rPr lang="nl-NL" sz="1200" b="1">
                <a:solidFill>
                  <a:srgbClr val="C00000"/>
                </a:solidFill>
              </a:rPr>
              <a:t>kenniscentrum</a:t>
            </a:r>
            <a:r>
              <a:rPr lang="nl-NL" sz="1200"/>
              <a:t>. Met behulp van een </a:t>
            </a:r>
            <a:r>
              <a:rPr lang="nl-NL" sz="1200" err="1"/>
              <a:t>roadmap</a:t>
            </a:r>
            <a:r>
              <a:rPr lang="nl-NL" sz="1200"/>
              <a:t> zijn deze strategische doelen vertaald naar concrete actielijnen en projecten voor de periode 2020-2024.</a:t>
            </a:r>
          </a:p>
          <a:p>
            <a:pPr algn="just"/>
            <a:endParaRPr lang="nl-NL" sz="1200"/>
          </a:p>
          <a:p>
            <a:pPr algn="just"/>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marL="285750" indent="-285750" algn="just">
              <a:buFont typeface="Wingdings" panose="05000000000000000000" pitchFamily="2" charset="2"/>
              <a:buChar char="Ø"/>
            </a:pPr>
            <a:endParaRPr lang="nl-NL" sz="1200" b="1">
              <a:solidFill>
                <a:srgbClr val="C00000"/>
              </a:solidFill>
            </a:endParaRPr>
          </a:p>
          <a:p>
            <a:pPr algn="just"/>
            <a:r>
              <a:rPr lang="nl-NL" sz="1200"/>
              <a:t>De vijfjarenplanning vertaalt de </a:t>
            </a:r>
            <a:r>
              <a:rPr lang="nl-NL" sz="1200" err="1"/>
              <a:t>roadmap</a:t>
            </a:r>
            <a:r>
              <a:rPr lang="nl-NL" sz="1200"/>
              <a:t> naar projecten per actielijn op jaarbasis. Dit vormt het vertrekpunt voor het jaarlijkse i-Plan.</a:t>
            </a:r>
          </a:p>
        </p:txBody>
      </p:sp>
      <p:sp>
        <p:nvSpPr>
          <p:cNvPr id="3" name="Titel 2">
            <a:extLst>
              <a:ext uri="{FF2B5EF4-FFF2-40B4-BE49-F238E27FC236}">
                <a16:creationId xmlns:a16="http://schemas.microsoft.com/office/drawing/2014/main" id="{C072DCE8-1977-4167-965C-57483AC688C8}"/>
              </a:ext>
            </a:extLst>
          </p:cNvPr>
          <p:cNvSpPr>
            <a:spLocks noGrp="1"/>
          </p:cNvSpPr>
          <p:nvPr>
            <p:ph type="title"/>
          </p:nvPr>
        </p:nvSpPr>
        <p:spPr/>
        <p:txBody>
          <a:bodyPr/>
          <a:lstStyle/>
          <a:p>
            <a:r>
              <a:rPr lang="nl-NL">
                <a:solidFill>
                  <a:srgbClr val="C00000"/>
                </a:solidFill>
              </a:rPr>
              <a:t>De I-Strategie in het kort</a:t>
            </a:r>
          </a:p>
        </p:txBody>
      </p:sp>
      <p:graphicFrame>
        <p:nvGraphicFramePr>
          <p:cNvPr id="8" name="Tabel 6">
            <a:extLst>
              <a:ext uri="{FF2B5EF4-FFF2-40B4-BE49-F238E27FC236}">
                <a16:creationId xmlns:a16="http://schemas.microsoft.com/office/drawing/2014/main" id="{0A472F5E-7523-4B4A-8C33-081FA6859542}"/>
              </a:ext>
            </a:extLst>
          </p:cNvPr>
          <p:cNvGraphicFramePr>
            <a:graphicFrameLocks noGrp="1"/>
          </p:cNvGraphicFramePr>
          <p:nvPr/>
        </p:nvGraphicFramePr>
        <p:xfrm>
          <a:off x="696000" y="3306766"/>
          <a:ext cx="10800000" cy="1463040"/>
        </p:xfrm>
        <a:graphic>
          <a:graphicData uri="http://schemas.openxmlformats.org/drawingml/2006/table">
            <a:tbl>
              <a:tblPr firstRow="1" bandRow="1">
                <a:tableStyleId>{5C22544A-7EE6-4342-B048-85BDC9FD1C3A}</a:tableStyleId>
              </a:tblPr>
              <a:tblGrid>
                <a:gridCol w="3600000">
                  <a:extLst>
                    <a:ext uri="{9D8B030D-6E8A-4147-A177-3AD203B41FA5}">
                      <a16:colId xmlns:a16="http://schemas.microsoft.com/office/drawing/2014/main" val="494395625"/>
                    </a:ext>
                  </a:extLst>
                </a:gridCol>
                <a:gridCol w="3600000">
                  <a:extLst>
                    <a:ext uri="{9D8B030D-6E8A-4147-A177-3AD203B41FA5}">
                      <a16:colId xmlns:a16="http://schemas.microsoft.com/office/drawing/2014/main" val="2173728340"/>
                    </a:ext>
                  </a:extLst>
                </a:gridCol>
                <a:gridCol w="3600000">
                  <a:extLst>
                    <a:ext uri="{9D8B030D-6E8A-4147-A177-3AD203B41FA5}">
                      <a16:colId xmlns:a16="http://schemas.microsoft.com/office/drawing/2014/main" val="588353145"/>
                    </a:ext>
                  </a:extLst>
                </a:gridCol>
              </a:tblGrid>
              <a:tr h="370840">
                <a:tc>
                  <a:txBody>
                    <a:bodyPr/>
                    <a:lstStyle/>
                    <a:p>
                      <a:r>
                        <a:rPr lang="nl-NL" sz="1200"/>
                        <a:t>Basis op orde zodat er ruimte is voor innovatie en vernieuwing</a:t>
                      </a:r>
                    </a:p>
                  </a:txBody>
                  <a:tcPr>
                    <a:solidFill>
                      <a:srgbClr val="C00000"/>
                    </a:solidFill>
                  </a:tcPr>
                </a:tc>
                <a:tc>
                  <a:txBody>
                    <a:bodyPr/>
                    <a:lstStyle/>
                    <a:p>
                      <a:r>
                        <a:rPr lang="nl-NL" sz="1200"/>
                        <a:t>Vernieuwing van ICT maakt excellente uitvoer en wendbaarheid mogelijk</a:t>
                      </a:r>
                    </a:p>
                  </a:txBody>
                  <a:tcPr>
                    <a:solidFill>
                      <a:srgbClr val="C00000"/>
                    </a:solidFill>
                  </a:tcPr>
                </a:tc>
                <a:tc>
                  <a:txBody>
                    <a:bodyPr/>
                    <a:lstStyle/>
                    <a:p>
                      <a:r>
                        <a:rPr lang="nl-NL" sz="1200"/>
                        <a:t>Data om een intern en extern kenniscentrum te bouwen</a:t>
                      </a:r>
                    </a:p>
                  </a:txBody>
                  <a:tcPr>
                    <a:solidFill>
                      <a:srgbClr val="C00000"/>
                    </a:solidFill>
                  </a:tcPr>
                </a:tc>
                <a:extLst>
                  <a:ext uri="{0D108BD9-81ED-4DB2-BD59-A6C34878D82A}">
                    <a16:rowId xmlns:a16="http://schemas.microsoft.com/office/drawing/2014/main" val="2506568587"/>
                  </a:ext>
                </a:extLst>
              </a:tr>
              <a:tr h="370840">
                <a:tc>
                  <a:txBody>
                    <a:bodyPr/>
                    <a:lstStyle/>
                    <a:p>
                      <a:pPr marL="171450" indent="-171450">
                        <a:buFont typeface="Arial" panose="020B0604020202020204" pitchFamily="34" charset="0"/>
                        <a:buChar char="•"/>
                      </a:pPr>
                      <a:r>
                        <a:rPr lang="nl-NL" sz="1200"/>
                        <a:t>Architectuurfunctie op orde</a:t>
                      </a:r>
                    </a:p>
                    <a:p>
                      <a:pPr marL="171450" indent="-171450">
                        <a:buFont typeface="Arial" panose="020B0604020202020204" pitchFamily="34" charset="0"/>
                        <a:buChar char="•"/>
                      </a:pPr>
                      <a:r>
                        <a:rPr lang="nl-NL" sz="1200"/>
                        <a:t>Informatiebeveiliging en privacy in control</a:t>
                      </a:r>
                    </a:p>
                    <a:p>
                      <a:pPr marL="171450" indent="-171450">
                        <a:buFont typeface="Arial" panose="020B0604020202020204" pitchFamily="34" charset="0"/>
                        <a:buChar char="•"/>
                      </a:pPr>
                      <a:r>
                        <a:rPr lang="nl-NL" sz="1200"/>
                        <a:t>Modernisering van ICT</a:t>
                      </a:r>
                    </a:p>
                    <a:p>
                      <a:pPr marL="171450" indent="-171450">
                        <a:buFont typeface="Arial" panose="020B0604020202020204" pitchFamily="34" charset="0"/>
                        <a:buChar char="•"/>
                      </a:pPr>
                      <a:r>
                        <a:rPr lang="nl-NL" sz="1200"/>
                        <a:t>Digitalisering van handmatig werk</a:t>
                      </a:r>
                    </a:p>
                    <a:p>
                      <a:pPr marL="171450" indent="-171450">
                        <a:buFont typeface="Arial" panose="020B0604020202020204" pitchFamily="34" charset="0"/>
                        <a:buChar char="•"/>
                      </a:pPr>
                      <a:r>
                        <a:rPr lang="nl-NL" sz="1200"/>
                        <a:t>Organisatie rondom ICT op orde</a:t>
                      </a:r>
                    </a:p>
                  </a:txBody>
                  <a:tcPr/>
                </a:tc>
                <a:tc>
                  <a:txBody>
                    <a:bodyPr/>
                    <a:lstStyle/>
                    <a:p>
                      <a:pPr marL="171450" indent="-171450">
                        <a:buFont typeface="Arial" panose="020B0604020202020204" pitchFamily="34" charset="0"/>
                        <a:buChar char="•"/>
                      </a:pPr>
                      <a:r>
                        <a:rPr lang="nl-NL" sz="1200"/>
                        <a:t>Creëren van ketensamenwerking</a:t>
                      </a:r>
                    </a:p>
                    <a:p>
                      <a:pPr marL="171450" indent="-171450">
                        <a:buFont typeface="Arial" panose="020B0604020202020204" pitchFamily="34" charset="0"/>
                        <a:buChar char="•"/>
                      </a:pPr>
                      <a:r>
                        <a:rPr lang="nl-NL" sz="1200"/>
                        <a:t>Automatisering van processen</a:t>
                      </a:r>
                    </a:p>
                    <a:p>
                      <a:pPr marL="171450" indent="-171450">
                        <a:buFont typeface="Arial" panose="020B0604020202020204" pitchFamily="34" charset="0"/>
                        <a:buChar char="•"/>
                      </a:pPr>
                      <a:r>
                        <a:rPr lang="nl-NL" sz="1200"/>
                        <a:t>Zelfhulp mogelijk maken</a:t>
                      </a:r>
                    </a:p>
                    <a:p>
                      <a:pPr marL="171450" indent="-171450">
                        <a:buFont typeface="Arial" panose="020B0604020202020204" pitchFamily="34" charset="0"/>
                        <a:buChar char="•"/>
                      </a:pPr>
                      <a:r>
                        <a:rPr lang="nl-NL" sz="1200"/>
                        <a:t>Infrastructuur versterken</a:t>
                      </a:r>
                    </a:p>
                    <a:p>
                      <a:pPr marL="171450" indent="-171450">
                        <a:buFont typeface="Arial" panose="020B0604020202020204" pitchFamily="34" charset="0"/>
                        <a:buChar char="•"/>
                      </a:pPr>
                      <a:r>
                        <a:rPr lang="nl-NL" sz="1200"/>
                        <a:t>Werkplekbeheer verbeteren</a:t>
                      </a:r>
                    </a:p>
                  </a:txBody>
                  <a:tcPr/>
                </a:tc>
                <a:tc>
                  <a:txBody>
                    <a:bodyPr/>
                    <a:lstStyle/>
                    <a:p>
                      <a:pPr marL="171450" indent="-171450">
                        <a:buFont typeface="Arial" panose="020B0604020202020204" pitchFamily="34" charset="0"/>
                        <a:buChar char="•"/>
                      </a:pPr>
                      <a:r>
                        <a:rPr lang="nl-NL" sz="1200"/>
                        <a:t>Aangaan van data-allianties</a:t>
                      </a:r>
                    </a:p>
                    <a:p>
                      <a:pPr marL="171450" indent="-171450">
                        <a:buFont typeface="Arial" panose="020B0604020202020204" pitchFamily="34" charset="0"/>
                        <a:buChar char="•"/>
                      </a:pPr>
                      <a:r>
                        <a:rPr lang="nl-NL" sz="1200"/>
                        <a:t>Zorgen voor onbetwistbare data</a:t>
                      </a:r>
                    </a:p>
                    <a:p>
                      <a:pPr marL="171450" indent="-171450">
                        <a:buFont typeface="Arial" panose="020B0604020202020204" pitchFamily="34" charset="0"/>
                        <a:buChar char="•"/>
                      </a:pPr>
                      <a:r>
                        <a:rPr lang="nl-NL" sz="1200"/>
                        <a:t>Bouwen aan data </a:t>
                      </a:r>
                      <a:r>
                        <a:rPr lang="nl-NL" sz="1200" err="1"/>
                        <a:t>warehousing</a:t>
                      </a:r>
                      <a:r>
                        <a:rPr lang="nl-NL" sz="1200"/>
                        <a:t> </a:t>
                      </a:r>
                    </a:p>
                    <a:p>
                      <a:pPr marL="171450" indent="-171450">
                        <a:buFont typeface="Arial" panose="020B0604020202020204" pitchFamily="34" charset="0"/>
                        <a:buChar char="•"/>
                      </a:pPr>
                      <a:r>
                        <a:rPr lang="nl-NL" sz="1200"/>
                        <a:t>Inrichten data </a:t>
                      </a:r>
                      <a:r>
                        <a:rPr lang="nl-NL" sz="1200" err="1"/>
                        <a:t>analytics</a:t>
                      </a:r>
                      <a:r>
                        <a:rPr lang="nl-NL" sz="1200"/>
                        <a:t> &amp; </a:t>
                      </a:r>
                      <a:r>
                        <a:rPr lang="nl-NL" sz="1200" err="1"/>
                        <a:t>science</a:t>
                      </a:r>
                      <a:endParaRPr lang="nl-NL" sz="1200"/>
                    </a:p>
                  </a:txBody>
                  <a:tcPr/>
                </a:tc>
                <a:extLst>
                  <a:ext uri="{0D108BD9-81ED-4DB2-BD59-A6C34878D82A}">
                    <a16:rowId xmlns:a16="http://schemas.microsoft.com/office/drawing/2014/main" val="604699671"/>
                  </a:ext>
                </a:extLst>
              </a:tr>
            </a:tbl>
          </a:graphicData>
        </a:graphic>
      </p:graphicFrame>
    </p:spTree>
    <p:extLst>
      <p:ext uri="{BB962C8B-B14F-4D97-AF65-F5344CB8AC3E}">
        <p14:creationId xmlns:p14="http://schemas.microsoft.com/office/powerpoint/2010/main" val="40378620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2C6F83-C5C0-4A1A-923C-F9DD8D6E9F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A2C6F83-C5C0-4A1A-923C-F9DD8D6E9F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E280407-1137-40DB-A116-33306B3CBF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11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63F76B54-6260-4B9C-97FA-A08565EBCC5F}"/>
              </a:ext>
            </a:extLst>
          </p:cNvPr>
          <p:cNvSpPr>
            <a:spLocks noGrp="1"/>
          </p:cNvSpPr>
          <p:nvPr>
            <p:ph type="title"/>
          </p:nvPr>
        </p:nvSpPr>
        <p:spPr/>
        <p:txBody>
          <a:bodyPr/>
          <a:lstStyle/>
          <a:p>
            <a:r>
              <a:rPr lang="nl-NL">
                <a:solidFill>
                  <a:srgbClr val="C00000"/>
                </a:solidFill>
              </a:rPr>
              <a:t>Vijfjarenplan | Basis op orde</a:t>
            </a:r>
            <a:br>
              <a:rPr lang="nl-NL">
                <a:solidFill>
                  <a:srgbClr val="C00000"/>
                </a:solidFill>
              </a:rPr>
            </a:br>
            <a:r>
              <a:rPr lang="nl-NL" sz="1100">
                <a:solidFill>
                  <a:schemeClr val="tx1"/>
                </a:solidFill>
              </a:rPr>
              <a:t>In 2024 is de basis op orde in ICT zodat er ruimte is voor innovatie en vernieuwing. Dat omvat een landschap bestaande uit de technologieën waarmee we werken, processen waarlangs we werken en uitgangspunten die we hanteren.</a:t>
            </a:r>
          </a:p>
        </p:txBody>
      </p:sp>
      <p:graphicFrame>
        <p:nvGraphicFramePr>
          <p:cNvPr id="6" name="Diagram 5">
            <a:extLst>
              <a:ext uri="{FF2B5EF4-FFF2-40B4-BE49-F238E27FC236}">
                <a16:creationId xmlns:a16="http://schemas.microsoft.com/office/drawing/2014/main" id="{19AC7FAF-9763-46A0-9E33-645812FFAF13}"/>
              </a:ext>
            </a:extLst>
          </p:cNvPr>
          <p:cNvGraphicFramePr/>
          <p:nvPr>
            <p:extLst>
              <p:ext uri="{D42A27DB-BD31-4B8C-83A1-F6EECF244321}">
                <p14:modId xmlns:p14="http://schemas.microsoft.com/office/powerpoint/2010/main" val="2880869063"/>
              </p:ext>
            </p:extLst>
          </p:nvPr>
        </p:nvGraphicFramePr>
        <p:xfrm>
          <a:off x="89555" y="1143001"/>
          <a:ext cx="12012891" cy="55715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Tabel 6">
            <a:extLst>
              <a:ext uri="{FF2B5EF4-FFF2-40B4-BE49-F238E27FC236}">
                <a16:creationId xmlns:a16="http://schemas.microsoft.com/office/drawing/2014/main" id="{D12349DB-50A7-45AC-B41F-A1E1E86BAD1D}"/>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Tree>
    <p:extLst>
      <p:ext uri="{BB962C8B-B14F-4D97-AF65-F5344CB8AC3E}">
        <p14:creationId xmlns:p14="http://schemas.microsoft.com/office/powerpoint/2010/main" val="4017627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0"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800" b="1">
              <a:latin typeface="Verdana" panose="020B0604030504040204" pitchFamily="34" charset="0"/>
              <a:sym typeface="Verdana" panose="020B0604030504040204" pitchFamily="34" charset="0"/>
            </a:endParaRPr>
          </a:p>
        </p:txBody>
      </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p:txBody>
          <a:bodyPr/>
          <a:lstStyle/>
          <a:p>
            <a:r>
              <a:rPr lang="nl-NL">
                <a:solidFill>
                  <a:srgbClr val="C00000"/>
                </a:solidFill>
              </a:rPr>
              <a:t>Architectuur</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1270392"/>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396000">
                <a:tc>
                  <a:txBody>
                    <a:bodyPr/>
                    <a:lstStyle/>
                    <a:p>
                      <a:pPr marL="0" indent="0">
                        <a:buFont typeface="+mj-lt"/>
                        <a:buNone/>
                      </a:pPr>
                      <a:r>
                        <a:rPr lang="nl-NL" sz="1100"/>
                        <a:t>Architectuurproducten &amp; proces op orde </a:t>
                      </a:r>
                      <a:endParaRPr lang="nl-NL" sz="1100">
                        <a:sym typeface="Wingdings" panose="05000000000000000000" pitchFamily="2" charset="2"/>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a:t>Architectuurplan</a:t>
                      </a:r>
                    </a:p>
                    <a:p>
                      <a:pPr marL="0" indent="0">
                        <a:buFont typeface="Arial" panose="020B0604020202020204" pitchFamily="34" charset="0"/>
                        <a:buNone/>
                      </a:pPr>
                      <a:endParaRPr lang="nl-NL" sz="1100"/>
                    </a:p>
                  </a:txBody>
                  <a:tcPr/>
                </a:tc>
                <a:tc>
                  <a:txBody>
                    <a:bodyPr/>
                    <a:lstStyle/>
                    <a:p>
                      <a:r>
                        <a:rPr lang="nl-NL" sz="1100"/>
                        <a:t>N.v.t.</a:t>
                      </a:r>
                    </a:p>
                  </a:txBody>
                  <a:tcPr/>
                </a:tc>
                <a:tc>
                  <a:txBody>
                    <a:bodyPr/>
                    <a:lstStyle/>
                    <a:p>
                      <a:r>
                        <a:rPr lang="nl-NL" sz="1100"/>
                        <a:t>Resourcing en prioriteit binnen de organisatie</a:t>
                      </a:r>
                    </a:p>
                  </a:txBody>
                  <a:tcPr/>
                </a:tc>
                <a:extLst>
                  <a:ext uri="{0D108BD9-81ED-4DB2-BD59-A6C34878D82A}">
                    <a16:rowId xmlns:a16="http://schemas.microsoft.com/office/drawing/2014/main" val="2315363676"/>
                  </a:ext>
                </a:extLst>
              </a:tr>
              <a:tr h="39600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t>Enterprise &amp; domeinarchitectuur van primaire pro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a:t>Architectuurplan</a:t>
                      </a:r>
                    </a:p>
                  </a:txBody>
                  <a:tcPr/>
                </a:tc>
                <a:tc>
                  <a:txBody>
                    <a:bodyPr/>
                    <a:lstStyle/>
                    <a:p>
                      <a:r>
                        <a:rPr lang="nl-NL" sz="1100"/>
                        <a:t>N.v.t.</a:t>
                      </a:r>
                    </a:p>
                  </a:txBody>
                  <a:tcPr/>
                </a:tc>
                <a:tc>
                  <a:txBody>
                    <a:bodyPr/>
                    <a:lstStyle/>
                    <a:p>
                      <a:r>
                        <a:rPr lang="nl-NL" sz="1100" err="1"/>
                        <a:t>Resourcing</a:t>
                      </a:r>
                      <a:r>
                        <a:rPr lang="nl-NL" sz="1100"/>
                        <a:t> en prioriteit binnen de organisatie</a:t>
                      </a:r>
                    </a:p>
                  </a:txBody>
                  <a:tcPr/>
                </a:tc>
                <a:extLst>
                  <a:ext uri="{0D108BD9-81ED-4DB2-BD59-A6C34878D82A}">
                    <a16:rowId xmlns:a16="http://schemas.microsoft.com/office/drawing/2014/main" val="1914566772"/>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grpSp>
        <p:nvGrpSpPr>
          <p:cNvPr id="46" name="Groep 45">
            <a:extLst>
              <a:ext uri="{FF2B5EF4-FFF2-40B4-BE49-F238E27FC236}">
                <a16:creationId xmlns:a16="http://schemas.microsoft.com/office/drawing/2014/main" id="{CA240AEA-E141-45D1-BFF7-D0CF6620322A}"/>
              </a:ext>
            </a:extLst>
          </p:cNvPr>
          <p:cNvGrpSpPr/>
          <p:nvPr/>
        </p:nvGrpSpPr>
        <p:grpSpPr>
          <a:xfrm>
            <a:off x="89554" y="1360170"/>
            <a:ext cx="12012885" cy="919736"/>
            <a:chOff x="89557" y="2969132"/>
            <a:chExt cx="12012885" cy="919736"/>
          </a:xfrm>
        </p:grpSpPr>
        <p:grpSp>
          <p:nvGrpSpPr>
            <p:cNvPr id="28" name="Groep 27">
              <a:extLst>
                <a:ext uri="{FF2B5EF4-FFF2-40B4-BE49-F238E27FC236}">
                  <a16:creationId xmlns:a16="http://schemas.microsoft.com/office/drawing/2014/main" id="{AE4F572A-7487-4EC1-A9B7-FC643B4A27E9}"/>
                </a:ext>
              </a:extLst>
            </p:cNvPr>
            <p:cNvGrpSpPr/>
            <p:nvPr/>
          </p:nvGrpSpPr>
          <p:grpSpPr>
            <a:xfrm>
              <a:off x="89557" y="2969132"/>
              <a:ext cx="1936184" cy="919736"/>
              <a:chOff x="0" y="217168"/>
              <a:chExt cx="1936184" cy="919736"/>
            </a:xfrm>
          </p:grpSpPr>
          <p:sp>
            <p:nvSpPr>
              <p:cNvPr id="44" name="Pijl: punthaak 43">
                <a:extLst>
                  <a:ext uri="{FF2B5EF4-FFF2-40B4-BE49-F238E27FC236}">
                    <a16:creationId xmlns:a16="http://schemas.microsoft.com/office/drawing/2014/main" id="{438A2BB4-2460-456C-9D71-B5B9EF96FA36}"/>
                  </a:ext>
                </a:extLst>
              </p:cNvPr>
              <p:cNvSpPr/>
              <p:nvPr/>
            </p:nvSpPr>
            <p:spPr>
              <a:xfrm>
                <a:off x="0" y="217168"/>
                <a:ext cx="1936184" cy="919736"/>
              </a:xfrm>
              <a:prstGeom prst="chevron">
                <a:avLst/>
              </a:pr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5" name="Pijl: punthaak 4">
                <a:extLst>
                  <a:ext uri="{FF2B5EF4-FFF2-40B4-BE49-F238E27FC236}">
                    <a16:creationId xmlns:a16="http://schemas.microsoft.com/office/drawing/2014/main" id="{6192195F-D977-4D91-80E0-C8F4F4401D93}"/>
                  </a:ext>
                </a:extLst>
              </p:cNvPr>
              <p:cNvSpPr txBox="1"/>
              <p:nvPr/>
            </p:nvSpPr>
            <p:spPr>
              <a:xfrm>
                <a:off x="459868" y="217168"/>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Architectuur</a:t>
                </a:r>
              </a:p>
            </p:txBody>
          </p:sp>
        </p:grpSp>
        <p:grpSp>
          <p:nvGrpSpPr>
            <p:cNvPr id="29" name="Groep 28">
              <a:extLst>
                <a:ext uri="{FF2B5EF4-FFF2-40B4-BE49-F238E27FC236}">
                  <a16:creationId xmlns:a16="http://schemas.microsoft.com/office/drawing/2014/main" id="{A3778CB6-CB65-4629-852B-FF2CB9498D98}"/>
                </a:ext>
              </a:extLst>
            </p:cNvPr>
            <p:cNvGrpSpPr/>
            <p:nvPr/>
          </p:nvGrpSpPr>
          <p:grpSpPr>
            <a:xfrm>
              <a:off x="1726826" y="2970613"/>
              <a:ext cx="2287835" cy="916783"/>
              <a:chOff x="1637269" y="218649"/>
              <a:chExt cx="2287835" cy="916783"/>
            </a:xfrm>
          </p:grpSpPr>
          <p:sp>
            <p:nvSpPr>
              <p:cNvPr id="42" name="Pijl: punthaak 41">
                <a:extLst>
                  <a:ext uri="{FF2B5EF4-FFF2-40B4-BE49-F238E27FC236}">
                    <a16:creationId xmlns:a16="http://schemas.microsoft.com/office/drawing/2014/main" id="{0610268B-49E2-4154-9CDA-F71339FAF0A5}"/>
                  </a:ext>
                </a:extLst>
              </p:cNvPr>
              <p:cNvSpPr/>
              <p:nvPr/>
            </p:nvSpPr>
            <p:spPr>
              <a:xfrm>
                <a:off x="1637269" y="218649"/>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3" name="Pijl: punthaak 6">
                <a:extLst>
                  <a:ext uri="{FF2B5EF4-FFF2-40B4-BE49-F238E27FC236}">
                    <a16:creationId xmlns:a16="http://schemas.microsoft.com/office/drawing/2014/main" id="{D83B529F-BB8D-444D-8692-D39471261D31}"/>
                  </a:ext>
                </a:extLst>
              </p:cNvPr>
              <p:cNvSpPr txBox="1"/>
              <p:nvPr/>
            </p:nvSpPr>
            <p:spPr>
              <a:xfrm>
                <a:off x="2095661" y="218649"/>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FontTx/>
                  <a:buNone/>
                </a:pPr>
                <a:r>
                  <a:rPr lang="nl-NL" sz="900" kern="1200">
                    <a:solidFill>
                      <a:schemeClr val="tx1"/>
                    </a:solidFill>
                  </a:rPr>
                  <a:t>Architectuurproducten &amp; -proces op orde</a:t>
                </a:r>
              </a:p>
              <a:p>
                <a:pPr marL="0" lvl="0" indent="0" algn="ctr" defTabSz="400050">
                  <a:lnSpc>
                    <a:spcPct val="90000"/>
                  </a:lnSpc>
                  <a:spcBef>
                    <a:spcPct val="0"/>
                  </a:spcBef>
                  <a:spcAft>
                    <a:spcPts val="600"/>
                  </a:spcAft>
                  <a:buFontTx/>
                  <a:buNone/>
                </a:pPr>
                <a:r>
                  <a:rPr lang="nl-NL" sz="900" kern="1200">
                    <a:solidFill>
                      <a:schemeClr val="tx1"/>
                    </a:solidFill>
                  </a:rPr>
                  <a:t>Enterprise &amp; domein-architectuur van primaire proces </a:t>
                </a:r>
              </a:p>
            </p:txBody>
          </p:sp>
        </p:grpSp>
        <p:grpSp>
          <p:nvGrpSpPr>
            <p:cNvPr id="30" name="Groep 29">
              <a:extLst>
                <a:ext uri="{FF2B5EF4-FFF2-40B4-BE49-F238E27FC236}">
                  <a16:creationId xmlns:a16="http://schemas.microsoft.com/office/drawing/2014/main" id="{5BC293BE-2775-46AF-9E6C-2852D2FE41D4}"/>
                </a:ext>
              </a:extLst>
            </p:cNvPr>
            <p:cNvGrpSpPr/>
            <p:nvPr/>
          </p:nvGrpSpPr>
          <p:grpSpPr>
            <a:xfrm>
              <a:off x="3747478" y="2970609"/>
              <a:ext cx="2287835" cy="916790"/>
              <a:chOff x="3657921" y="218645"/>
              <a:chExt cx="2287835" cy="916790"/>
            </a:xfrm>
          </p:grpSpPr>
          <p:sp>
            <p:nvSpPr>
              <p:cNvPr id="40" name="Pijl: punthaak 39">
                <a:extLst>
                  <a:ext uri="{FF2B5EF4-FFF2-40B4-BE49-F238E27FC236}">
                    <a16:creationId xmlns:a16="http://schemas.microsoft.com/office/drawing/2014/main" id="{C2AF9126-7763-427C-AA44-ECCC8ADBB523}"/>
                  </a:ext>
                </a:extLst>
              </p:cNvPr>
              <p:cNvSpPr/>
              <p:nvPr/>
            </p:nvSpPr>
            <p:spPr>
              <a:xfrm>
                <a:off x="3657921" y="218645"/>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ijl: punthaak 8">
                <a:extLst>
                  <a:ext uri="{FF2B5EF4-FFF2-40B4-BE49-F238E27FC236}">
                    <a16:creationId xmlns:a16="http://schemas.microsoft.com/office/drawing/2014/main" id="{B1534B44-2150-4740-8023-D656446507E0}"/>
                  </a:ext>
                </a:extLst>
              </p:cNvPr>
              <p:cNvSpPr txBox="1"/>
              <p:nvPr/>
            </p:nvSpPr>
            <p:spPr>
              <a:xfrm>
                <a:off x="4116316" y="218645"/>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Font typeface="+mj-lt"/>
                  <a:buNone/>
                </a:pPr>
                <a:r>
                  <a:rPr lang="nl-NL" sz="900" kern="1200">
                    <a:solidFill>
                      <a:schemeClr val="tx1"/>
                    </a:solidFill>
                  </a:rPr>
                  <a:t>Interne capaciteit architecten</a:t>
                </a:r>
              </a:p>
              <a:p>
                <a:pPr marL="0" lvl="0" indent="0" algn="ctr" defTabSz="400050">
                  <a:lnSpc>
                    <a:spcPct val="90000"/>
                  </a:lnSpc>
                  <a:spcBef>
                    <a:spcPct val="0"/>
                  </a:spcBef>
                  <a:spcAft>
                    <a:spcPts val="600"/>
                  </a:spcAft>
                  <a:buFont typeface="+mj-lt"/>
                  <a:buNone/>
                </a:pPr>
                <a:r>
                  <a:rPr lang="nl-NL" sz="900" kern="1200">
                    <a:solidFill>
                      <a:schemeClr val="tx1"/>
                    </a:solidFill>
                  </a:rPr>
                  <a:t>Architectuurbewustzijn gehele organisatie </a:t>
                </a:r>
              </a:p>
              <a:p>
                <a:pPr marL="0" lvl="0" indent="0" algn="ctr" defTabSz="400050">
                  <a:lnSpc>
                    <a:spcPct val="90000"/>
                  </a:lnSpc>
                  <a:spcBef>
                    <a:spcPct val="0"/>
                  </a:spcBef>
                  <a:spcAft>
                    <a:spcPts val="600"/>
                  </a:spcAft>
                  <a:buFont typeface="+mj-lt"/>
                  <a:buNone/>
                </a:pPr>
                <a:r>
                  <a:rPr lang="nl-NL" sz="900" kern="1200">
                    <a:solidFill>
                      <a:schemeClr val="tx1"/>
                    </a:solidFill>
                  </a:rPr>
                  <a:t>Alle domein-architecturen op orde</a:t>
                </a:r>
              </a:p>
            </p:txBody>
          </p:sp>
        </p:grpSp>
        <p:grpSp>
          <p:nvGrpSpPr>
            <p:cNvPr id="31" name="Groep 30">
              <a:extLst>
                <a:ext uri="{FF2B5EF4-FFF2-40B4-BE49-F238E27FC236}">
                  <a16:creationId xmlns:a16="http://schemas.microsoft.com/office/drawing/2014/main" id="{AA0A8A9A-691D-49BF-86F5-5BDEAF233A67}"/>
                </a:ext>
              </a:extLst>
            </p:cNvPr>
            <p:cNvGrpSpPr/>
            <p:nvPr/>
          </p:nvGrpSpPr>
          <p:grpSpPr>
            <a:xfrm>
              <a:off x="5768130" y="2970609"/>
              <a:ext cx="2287835" cy="916790"/>
              <a:chOff x="5678573" y="218645"/>
              <a:chExt cx="2287835" cy="916790"/>
            </a:xfrm>
          </p:grpSpPr>
          <p:sp>
            <p:nvSpPr>
              <p:cNvPr id="38" name="Pijl: punthaak 37">
                <a:extLst>
                  <a:ext uri="{FF2B5EF4-FFF2-40B4-BE49-F238E27FC236}">
                    <a16:creationId xmlns:a16="http://schemas.microsoft.com/office/drawing/2014/main" id="{83213823-A9F3-4B04-B82F-2A878A8DD91B}"/>
                  </a:ext>
                </a:extLst>
              </p:cNvPr>
              <p:cNvSpPr/>
              <p:nvPr/>
            </p:nvSpPr>
            <p:spPr>
              <a:xfrm>
                <a:off x="5678573" y="218645"/>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ijl: punthaak 10">
                <a:extLst>
                  <a:ext uri="{FF2B5EF4-FFF2-40B4-BE49-F238E27FC236}">
                    <a16:creationId xmlns:a16="http://schemas.microsoft.com/office/drawing/2014/main" id="{942014DB-6F52-4F53-8658-B87C8B044150}"/>
                  </a:ext>
                </a:extLst>
              </p:cNvPr>
              <p:cNvSpPr txBox="1"/>
              <p:nvPr/>
            </p:nvSpPr>
            <p:spPr>
              <a:xfrm>
                <a:off x="6136968" y="218645"/>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32" name="Groep 31">
              <a:extLst>
                <a:ext uri="{FF2B5EF4-FFF2-40B4-BE49-F238E27FC236}">
                  <a16:creationId xmlns:a16="http://schemas.microsoft.com/office/drawing/2014/main" id="{46E47A67-DCEC-41A2-BDF4-A7B30830F36B}"/>
                </a:ext>
              </a:extLst>
            </p:cNvPr>
            <p:cNvGrpSpPr/>
            <p:nvPr/>
          </p:nvGrpSpPr>
          <p:grpSpPr>
            <a:xfrm>
              <a:off x="7788782" y="2970609"/>
              <a:ext cx="2287835" cy="916790"/>
              <a:chOff x="7699225" y="218645"/>
              <a:chExt cx="2287835" cy="916790"/>
            </a:xfrm>
          </p:grpSpPr>
          <p:sp>
            <p:nvSpPr>
              <p:cNvPr id="36" name="Pijl: punthaak 35">
                <a:extLst>
                  <a:ext uri="{FF2B5EF4-FFF2-40B4-BE49-F238E27FC236}">
                    <a16:creationId xmlns:a16="http://schemas.microsoft.com/office/drawing/2014/main" id="{E3A8C4EA-9618-481C-91A9-156CFAC730FF}"/>
                  </a:ext>
                </a:extLst>
              </p:cNvPr>
              <p:cNvSpPr/>
              <p:nvPr/>
            </p:nvSpPr>
            <p:spPr>
              <a:xfrm>
                <a:off x="7699225" y="218645"/>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ijl: punthaak 12">
                <a:extLst>
                  <a:ext uri="{FF2B5EF4-FFF2-40B4-BE49-F238E27FC236}">
                    <a16:creationId xmlns:a16="http://schemas.microsoft.com/office/drawing/2014/main" id="{E31DF72A-42C8-4C39-AA92-72F29C2B2357}"/>
                  </a:ext>
                </a:extLst>
              </p:cNvPr>
              <p:cNvSpPr txBox="1"/>
              <p:nvPr/>
            </p:nvSpPr>
            <p:spPr>
              <a:xfrm>
                <a:off x="8157620" y="218645"/>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33" name="Groep 32">
              <a:extLst>
                <a:ext uri="{FF2B5EF4-FFF2-40B4-BE49-F238E27FC236}">
                  <a16:creationId xmlns:a16="http://schemas.microsoft.com/office/drawing/2014/main" id="{4D640732-A68B-4AB9-9C83-50BD93CFD0C6}"/>
                </a:ext>
              </a:extLst>
            </p:cNvPr>
            <p:cNvGrpSpPr/>
            <p:nvPr/>
          </p:nvGrpSpPr>
          <p:grpSpPr>
            <a:xfrm>
              <a:off x="9814607" y="2969136"/>
              <a:ext cx="2287835" cy="916790"/>
              <a:chOff x="9725050" y="217172"/>
              <a:chExt cx="2287835" cy="916790"/>
            </a:xfrm>
          </p:grpSpPr>
          <p:sp>
            <p:nvSpPr>
              <p:cNvPr id="34" name="Pijl: punthaak 33">
                <a:extLst>
                  <a:ext uri="{FF2B5EF4-FFF2-40B4-BE49-F238E27FC236}">
                    <a16:creationId xmlns:a16="http://schemas.microsoft.com/office/drawing/2014/main" id="{12519660-E63F-4F10-8709-6ED5463382FA}"/>
                  </a:ext>
                </a:extLst>
              </p:cNvPr>
              <p:cNvSpPr/>
              <p:nvPr/>
            </p:nvSpPr>
            <p:spPr>
              <a:xfrm>
                <a:off x="9725050" y="217172"/>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ijl: punthaak 14">
                <a:extLst>
                  <a:ext uri="{FF2B5EF4-FFF2-40B4-BE49-F238E27FC236}">
                    <a16:creationId xmlns:a16="http://schemas.microsoft.com/office/drawing/2014/main" id="{295C3342-60C1-44AA-AF7B-1EAA06394C1A}"/>
                  </a:ext>
                </a:extLst>
              </p:cNvPr>
              <p:cNvSpPr txBox="1"/>
              <p:nvPr/>
            </p:nvSpPr>
            <p:spPr>
              <a:xfrm>
                <a:off x="10183445" y="217172"/>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2" name="Tekstvak 1">
            <a:extLst>
              <a:ext uri="{FF2B5EF4-FFF2-40B4-BE49-F238E27FC236}">
                <a16:creationId xmlns:a16="http://schemas.microsoft.com/office/drawing/2014/main" id="{F1C18397-C3FC-4B0F-AF0C-7AD9EDCA4922}"/>
              </a:ext>
            </a:extLst>
          </p:cNvPr>
          <p:cNvSpPr txBox="1"/>
          <p:nvPr/>
        </p:nvSpPr>
        <p:spPr>
          <a:xfrm>
            <a:off x="502901" y="4390486"/>
            <a:ext cx="11186191" cy="784830"/>
          </a:xfrm>
          <a:prstGeom prst="rect">
            <a:avLst/>
          </a:prstGeom>
          <a:noFill/>
        </p:spPr>
        <p:txBody>
          <a:bodyPr wrap="square" rtlCol="0">
            <a:spAutoFit/>
          </a:bodyPr>
          <a:lstStyle/>
          <a:p>
            <a:r>
              <a:rPr lang="nl-NL" sz="1100" b="1">
                <a:solidFill>
                  <a:srgbClr val="C00000"/>
                </a:solidFill>
                <a:latin typeface="+mn-lt"/>
              </a:rPr>
              <a:t>Toelichting</a:t>
            </a:r>
          </a:p>
          <a:p>
            <a:pPr algn="just"/>
            <a:r>
              <a:rPr lang="nl-NL" sz="1100">
                <a:solidFill>
                  <a:schemeClr val="dk1"/>
                </a:solidFill>
                <a:latin typeface="+mn-lt"/>
              </a:rPr>
              <a:t>De Raad wil 2020 gebruiken om op een verantwoorde manier en zonder desinvesteringen in de richting van de doelarchitectuur te groeien. Daarmee worden de grootste risico's in het huidige applicatielandschap voor het primaire proces van de Raad gemitigeerd. Hiervoor is het nodig om de doelarchitectuur ook verder beschreven te hebben. Verdere informatie met betrekking tot de architectuur staat beschreven in het Architectuurplan.</a:t>
            </a:r>
          </a:p>
        </p:txBody>
      </p:sp>
      <p:graphicFrame>
        <p:nvGraphicFramePr>
          <p:cNvPr id="49" name="Diagram 48">
            <a:extLst>
              <a:ext uri="{FF2B5EF4-FFF2-40B4-BE49-F238E27FC236}">
                <a16:creationId xmlns:a16="http://schemas.microsoft.com/office/drawing/2014/main" id="{36EA8C3B-2AB1-4855-9A07-D016DC58EE62}"/>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33449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3BADC9-62D6-4463-8BAE-2F15D71219DD}"/>
              </a:ext>
            </a:extLst>
          </p:cNvPr>
          <p:cNvGraphicFramePr>
            <a:graphicFrameLocks noChangeAspect="1"/>
          </p:cNvGraphicFramePr>
          <p:nvPr>
            <p:custDataLst>
              <p:tags r:id="rId2"/>
            </p:custDataLst>
            <p:extLst>
              <p:ext uri="{D42A27DB-BD31-4B8C-83A1-F6EECF244321}">
                <p14:modId xmlns:p14="http://schemas.microsoft.com/office/powerpoint/2010/main" val="3281006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5"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173BADC9-62D6-4463-8BAE-2F15D71219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DCE42A7E-F211-4ABF-8B63-D3F8C33C3B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F4EDE90B-BBC7-4026-8E65-31F04D6915E0}"/>
              </a:ext>
            </a:extLst>
          </p:cNvPr>
          <p:cNvSpPr>
            <a:spLocks noGrp="1"/>
          </p:cNvSpPr>
          <p:nvPr>
            <p:ph type="title"/>
          </p:nvPr>
        </p:nvSpPr>
        <p:spPr/>
        <p:txBody>
          <a:bodyPr/>
          <a:lstStyle/>
          <a:p>
            <a:r>
              <a:rPr lang="nl-NL" sz="4000">
                <a:solidFill>
                  <a:srgbClr val="C00000"/>
                </a:solidFill>
              </a:rPr>
              <a:t>Ontwikkelingen</a:t>
            </a:r>
            <a:r>
              <a:rPr lang="nl-NL" sz="2000">
                <a:solidFill>
                  <a:schemeClr val="tx1"/>
                </a:solidFill>
              </a:rPr>
              <a:t/>
            </a:r>
            <a:br>
              <a:rPr lang="nl-NL" sz="2000">
                <a:solidFill>
                  <a:schemeClr val="tx1"/>
                </a:solidFill>
              </a:rPr>
            </a:br>
            <a:r>
              <a:rPr lang="nl-NL" sz="2000">
                <a:solidFill>
                  <a:schemeClr val="tx1"/>
                </a:solidFill>
              </a:rPr>
              <a:t>De omgeving waarin de Raad voor Rechtsbijstand werkt verandert</a:t>
            </a:r>
            <a:endParaRPr lang="nl-NL">
              <a:solidFill>
                <a:schemeClr val="tx1"/>
              </a:solidFill>
            </a:endParaRPr>
          </a:p>
        </p:txBody>
      </p:sp>
      <p:sp>
        <p:nvSpPr>
          <p:cNvPr id="9" name="Tijdelijke aanduiding voor inhoud 8">
            <a:extLst>
              <a:ext uri="{FF2B5EF4-FFF2-40B4-BE49-F238E27FC236}">
                <a16:creationId xmlns:a16="http://schemas.microsoft.com/office/drawing/2014/main" id="{2182648B-39AD-4B43-8178-162DAF35DBE5}"/>
              </a:ext>
            </a:extLst>
          </p:cNvPr>
          <p:cNvSpPr>
            <a:spLocks noGrp="1"/>
          </p:cNvSpPr>
          <p:nvPr>
            <p:ph sz="half" idx="2"/>
          </p:nvPr>
        </p:nvSpPr>
        <p:spPr>
          <a:xfrm>
            <a:off x="6197600" y="1256072"/>
            <a:ext cx="5778090" cy="4525963"/>
          </a:xfrm>
        </p:spPr>
        <p:txBody>
          <a:bodyPr/>
          <a:lstStyle/>
          <a:p>
            <a:pPr marL="0" indent="0" algn="just">
              <a:buNone/>
            </a:pPr>
            <a:r>
              <a:rPr lang="nl-NL" sz="1600" dirty="0"/>
              <a:t>Burgers hebben soms behoefte aan specifieke hulpverlening. Binnen de gebieden; rechtsbijstand, schuldsanering, en tolken en vertalers, zijn er grote ontwikkelingen zoals het mogelijk maken van zelfhulp en maatwerk.</a:t>
            </a:r>
          </a:p>
          <a:p>
            <a:pPr marL="0" indent="0" algn="just">
              <a:buNone/>
            </a:pPr>
            <a:r>
              <a:rPr lang="nl-NL" sz="1600" dirty="0"/>
              <a:t>Daarnaast zijn er grote ontwikkelingen in het technisch domein, wat invloed heeft op de hulpverlening van de overheid aan de burger. Deze technische  ontwikkelingen bieden nieuwe kansen. Denk hierbij aan samenwerking en uitwisseling van data in de keten en het automatiseren van processen.</a:t>
            </a:r>
          </a:p>
          <a:p>
            <a:pPr marL="0" indent="0" algn="just">
              <a:buNone/>
            </a:pPr>
            <a:endParaRPr lang="nl-NL" sz="1600" dirty="0"/>
          </a:p>
          <a:p>
            <a:pPr marL="0" indent="0" algn="just">
              <a:buNone/>
            </a:pPr>
            <a:r>
              <a:rPr lang="nl-NL" sz="1600" dirty="0"/>
              <a:t>Specifiek voor de rechtsbijstand werkt de overheid aan modernisering van het stelsel. hiervoor wordt in pilots ervaring opgedaan met nieuwe werkwijzen voor modernisering. Deze ontwikkelingen gaan de wereld van </a:t>
            </a:r>
            <a:r>
              <a:rPr lang="nl-NL" sz="1600" b="1" dirty="0">
                <a:solidFill>
                  <a:srgbClr val="C00000"/>
                </a:solidFill>
              </a:rPr>
              <a:t>rechtsbijstand dus enorm veranderen </a:t>
            </a:r>
            <a:r>
              <a:rPr lang="nl-NL" sz="1600" dirty="0"/>
              <a:t>in Nederland. Wat zal blijven is de rechtsbijstand zelf.</a:t>
            </a:r>
          </a:p>
        </p:txBody>
      </p:sp>
      <p:pic>
        <p:nvPicPr>
          <p:cNvPr id="7" name="Afbeelding 6">
            <a:extLst>
              <a:ext uri="{FF2B5EF4-FFF2-40B4-BE49-F238E27FC236}">
                <a16:creationId xmlns:a16="http://schemas.microsoft.com/office/drawing/2014/main" id="{92D106D5-6497-42F4-87A6-CAFD0BC59FD5}"/>
              </a:ext>
            </a:extLst>
          </p:cNvPr>
          <p:cNvPicPr>
            <a:picLocks noChangeAspect="1"/>
          </p:cNvPicPr>
          <p:nvPr/>
        </p:nvPicPr>
        <p:blipFill rotWithShape="1">
          <a:blip r:embed="rId8"/>
          <a:srcRect l="12563"/>
          <a:stretch/>
        </p:blipFill>
        <p:spPr>
          <a:xfrm rot="10800000">
            <a:off x="624417" y="1600201"/>
            <a:ext cx="5130924" cy="3300820"/>
          </a:xfrm>
          <a:prstGeom prst="rect">
            <a:avLst/>
          </a:prstGeom>
        </p:spPr>
      </p:pic>
    </p:spTree>
    <p:extLst>
      <p:ext uri="{BB962C8B-B14F-4D97-AF65-F5344CB8AC3E}">
        <p14:creationId xmlns:p14="http://schemas.microsoft.com/office/powerpoint/2010/main" val="15431319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4"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29" name="Tekstvak 28">
            <a:extLst>
              <a:ext uri="{FF2B5EF4-FFF2-40B4-BE49-F238E27FC236}">
                <a16:creationId xmlns:a16="http://schemas.microsoft.com/office/drawing/2014/main" id="{708C3530-6CC5-4BB5-B34D-D842D5E46098}"/>
              </a:ext>
            </a:extLst>
          </p:cNvPr>
          <p:cNvSpPr txBox="1"/>
          <p:nvPr/>
        </p:nvSpPr>
        <p:spPr>
          <a:xfrm>
            <a:off x="502901" y="4390486"/>
            <a:ext cx="11186191" cy="784830"/>
          </a:xfrm>
          <a:prstGeom prst="rect">
            <a:avLst/>
          </a:prstGeom>
          <a:noFill/>
        </p:spPr>
        <p:txBody>
          <a:bodyPr wrap="square" rtlCol="0">
            <a:spAutoFit/>
          </a:bodyPr>
          <a:lstStyle/>
          <a:p>
            <a:r>
              <a:rPr lang="nl-NL" sz="1100" b="1" dirty="0">
                <a:solidFill>
                  <a:srgbClr val="C00000"/>
                </a:solidFill>
                <a:latin typeface="+mn-lt"/>
              </a:rPr>
              <a:t>Toelichting</a:t>
            </a:r>
          </a:p>
          <a:p>
            <a:pPr algn="just"/>
            <a:r>
              <a:rPr lang="nl-NL" sz="1100" dirty="0">
                <a:solidFill>
                  <a:schemeClr val="dk1"/>
                </a:solidFill>
                <a:latin typeface="+mn-lt"/>
              </a:rPr>
              <a:t>Voor Privacy ligt er al een volledig plan waarin verdere informatie beschreven staat. Ook voor Security ligt er een apart plan met verdere omschrijvingen, maar dit plan is nog in conceptfase. Om in 2020 tot een algemeen beleid op privacy en security te komen is het nodig om deze twee plannen te integreren in één beleid. Hiervoor dient nog een plan te komen. Een belangrijk risico – en dus aandachtspunt – is hierbij de invulling van de betrokken rollen.</a:t>
            </a:r>
          </a:p>
        </p:txBody>
      </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p:txBody>
          <a:bodyPr/>
          <a:lstStyle/>
          <a:p>
            <a:r>
              <a:rPr lang="nl-NL" dirty="0">
                <a:solidFill>
                  <a:srgbClr val="C00000"/>
                </a:solidFill>
              </a:rPr>
              <a:t>Informatiebeveiliging en Privacy </a:t>
            </a:r>
            <a:br>
              <a:rPr lang="nl-NL" dirty="0">
                <a:solidFill>
                  <a:srgbClr val="C00000"/>
                </a:solidFill>
              </a:rPr>
            </a:br>
            <a:r>
              <a:rPr lang="nl-NL" dirty="0">
                <a:solidFill>
                  <a:srgbClr val="C00000"/>
                </a:solidFill>
              </a:rPr>
              <a:t>(IBP)</a:t>
            </a:r>
          </a:p>
        </p:txBody>
      </p:sp>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graphicFrame>
        <p:nvGraphicFramePr>
          <p:cNvPr id="47" name="Tabel 46">
            <a:extLst>
              <a:ext uri="{FF2B5EF4-FFF2-40B4-BE49-F238E27FC236}">
                <a16:creationId xmlns:a16="http://schemas.microsoft.com/office/drawing/2014/main" id="{64187096-5879-42D0-BA83-8EA84CBA9C28}"/>
              </a:ext>
            </a:extLst>
          </p:cNvPr>
          <p:cNvGraphicFramePr>
            <a:graphicFrameLocks noGrp="1"/>
          </p:cNvGraphicFramePr>
          <p:nvPr>
            <p:extLst>
              <p:ext uri="{D42A27DB-BD31-4B8C-83A1-F6EECF244321}">
                <p14:modId xmlns:p14="http://schemas.microsoft.com/office/powerpoint/2010/main" val="3172778229"/>
              </p:ext>
            </p:extLst>
          </p:nvPr>
        </p:nvGraphicFramePr>
        <p:xfrm>
          <a:off x="516000" y="2700000"/>
          <a:ext cx="11160000" cy="1565705"/>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4146465006"/>
                    </a:ext>
                  </a:extLst>
                </a:gridCol>
                <a:gridCol w="2396442">
                  <a:extLst>
                    <a:ext uri="{9D8B030D-6E8A-4147-A177-3AD203B41FA5}">
                      <a16:colId xmlns:a16="http://schemas.microsoft.com/office/drawing/2014/main" val="2318237366"/>
                    </a:ext>
                  </a:extLst>
                </a:gridCol>
                <a:gridCol w="2601852">
                  <a:extLst>
                    <a:ext uri="{9D8B030D-6E8A-4147-A177-3AD203B41FA5}">
                      <a16:colId xmlns:a16="http://schemas.microsoft.com/office/drawing/2014/main" val="1349346705"/>
                    </a:ext>
                  </a:extLst>
                </a:gridCol>
                <a:gridCol w="2840122">
                  <a:extLst>
                    <a:ext uri="{9D8B030D-6E8A-4147-A177-3AD203B41FA5}">
                      <a16:colId xmlns:a16="http://schemas.microsoft.com/office/drawing/2014/main" val="3703987320"/>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614003530"/>
                  </a:ext>
                </a:extLst>
              </a:tr>
              <a:tr h="554393">
                <a:tc>
                  <a:txBody>
                    <a:bodyPr/>
                    <a:lstStyle/>
                    <a:p>
                      <a:pPr marL="0" indent="0">
                        <a:buFont typeface="+mj-lt"/>
                        <a:buNone/>
                      </a:pPr>
                      <a:r>
                        <a:rPr lang="nl-NL" sz="1100"/>
                        <a:t>Gezamenlijk IBP Beleid opgesteld</a:t>
                      </a:r>
                    </a:p>
                  </a:txBody>
                  <a:tcPr/>
                </a:tc>
                <a:tc>
                  <a:txBody>
                    <a:bodyPr/>
                    <a:lstStyle/>
                    <a:p>
                      <a:r>
                        <a:rPr lang="nl-NL" sz="1100"/>
                        <a:t>Privacy-plan en Security-plan integreren tot een beleid</a:t>
                      </a:r>
                    </a:p>
                  </a:txBody>
                  <a:tcPr/>
                </a:tc>
                <a:tc>
                  <a:txBody>
                    <a:bodyPr/>
                    <a:lstStyle/>
                    <a:p>
                      <a:r>
                        <a:rPr lang="nl-NL" sz="1100"/>
                        <a:t>N.v.t.</a:t>
                      </a:r>
                    </a:p>
                  </a:txBody>
                  <a:tcPr/>
                </a:tc>
                <a:tc>
                  <a:txBody>
                    <a:bodyPr/>
                    <a:lstStyle/>
                    <a:p>
                      <a:r>
                        <a:rPr lang="nl-NL" sz="1100" dirty="0" err="1"/>
                        <a:t>Resourcing</a:t>
                      </a:r>
                      <a:r>
                        <a:rPr lang="nl-NL" sz="1100" dirty="0"/>
                        <a:t> voor bijbehorende rollen </a:t>
                      </a:r>
                    </a:p>
                  </a:txBody>
                  <a:tcPr/>
                </a:tc>
                <a:extLst>
                  <a:ext uri="{0D108BD9-81ED-4DB2-BD59-A6C34878D82A}">
                    <a16:rowId xmlns:a16="http://schemas.microsoft.com/office/drawing/2014/main" val="1704914910"/>
                  </a:ext>
                </a:extLst>
              </a:tr>
              <a:tr h="360000">
                <a:tc>
                  <a:txBody>
                    <a:bodyPr/>
                    <a:lstStyle/>
                    <a:p>
                      <a:pPr marL="0" indent="0">
                        <a:buFont typeface="+mj-lt"/>
                        <a:buNone/>
                      </a:pPr>
                      <a:r>
                        <a:rPr lang="nl-NL" sz="1100"/>
                        <a:t>Risicomanagement ingericht</a:t>
                      </a:r>
                    </a:p>
                  </a:txBody>
                  <a:tcPr/>
                </a:tc>
                <a:tc>
                  <a:txBody>
                    <a:bodyPr/>
                    <a:lstStyle/>
                    <a:p>
                      <a:r>
                        <a:rPr lang="nl-NL" sz="1100" dirty="0" err="1"/>
                        <a:t>PvA</a:t>
                      </a:r>
                      <a:r>
                        <a:rPr lang="nl-NL" sz="1100" dirty="0"/>
                        <a:t> voor security</a:t>
                      </a:r>
                    </a:p>
                  </a:txBody>
                  <a:tcPr/>
                </a:tc>
                <a:tc>
                  <a:txBody>
                    <a:bodyPr/>
                    <a:lstStyle/>
                    <a:p>
                      <a:r>
                        <a:rPr lang="nl-NL" sz="1100" dirty="0"/>
                        <a:t>N.v.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err="1"/>
                        <a:t>Resourcing</a:t>
                      </a:r>
                      <a:r>
                        <a:rPr lang="nl-NL" sz="1100" dirty="0"/>
                        <a:t> voor bijbehorende rollen en beschikbare tijd van proceseigenaren</a:t>
                      </a:r>
                    </a:p>
                  </a:txBody>
                  <a:tcPr/>
                </a:tc>
                <a:extLst>
                  <a:ext uri="{0D108BD9-81ED-4DB2-BD59-A6C34878D82A}">
                    <a16:rowId xmlns:a16="http://schemas.microsoft.com/office/drawing/2014/main" val="2924210806"/>
                  </a:ext>
                </a:extLst>
              </a:tr>
            </a:tbl>
          </a:graphicData>
        </a:graphic>
      </p:graphicFrame>
      <p:grpSp>
        <p:nvGrpSpPr>
          <p:cNvPr id="68" name="Groep 67">
            <a:extLst>
              <a:ext uri="{FF2B5EF4-FFF2-40B4-BE49-F238E27FC236}">
                <a16:creationId xmlns:a16="http://schemas.microsoft.com/office/drawing/2014/main" id="{65AC825C-8869-4AA3-A34F-F355E43257AE}"/>
              </a:ext>
            </a:extLst>
          </p:cNvPr>
          <p:cNvGrpSpPr/>
          <p:nvPr/>
        </p:nvGrpSpPr>
        <p:grpSpPr>
          <a:xfrm>
            <a:off x="89554" y="1360170"/>
            <a:ext cx="12007713" cy="919736"/>
            <a:chOff x="92143" y="2969132"/>
            <a:chExt cx="12007713" cy="919736"/>
          </a:xfrm>
        </p:grpSpPr>
        <p:grpSp>
          <p:nvGrpSpPr>
            <p:cNvPr id="69" name="Groep 68">
              <a:extLst>
                <a:ext uri="{FF2B5EF4-FFF2-40B4-BE49-F238E27FC236}">
                  <a16:creationId xmlns:a16="http://schemas.microsoft.com/office/drawing/2014/main" id="{E9E715E2-4EBD-475B-B337-3F7F237E8F40}"/>
                </a:ext>
              </a:extLst>
            </p:cNvPr>
            <p:cNvGrpSpPr/>
            <p:nvPr/>
          </p:nvGrpSpPr>
          <p:grpSpPr>
            <a:xfrm>
              <a:off x="92143" y="2969132"/>
              <a:ext cx="1936184" cy="919736"/>
              <a:chOff x="2588" y="1277413"/>
              <a:chExt cx="1936184" cy="919736"/>
            </a:xfrm>
          </p:grpSpPr>
          <p:sp>
            <p:nvSpPr>
              <p:cNvPr id="85" name="Pijl: punthaak 84">
                <a:extLst>
                  <a:ext uri="{FF2B5EF4-FFF2-40B4-BE49-F238E27FC236}">
                    <a16:creationId xmlns:a16="http://schemas.microsoft.com/office/drawing/2014/main" id="{6DA8BD1C-4DA5-41F6-9089-CA3AB05CAC98}"/>
                  </a:ext>
                </a:extLst>
              </p:cNvPr>
              <p:cNvSpPr/>
              <p:nvPr/>
            </p:nvSpPr>
            <p:spPr>
              <a:xfrm>
                <a:off x="2588" y="12774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6" name="Pijl: punthaak 4">
                <a:extLst>
                  <a:ext uri="{FF2B5EF4-FFF2-40B4-BE49-F238E27FC236}">
                    <a16:creationId xmlns:a16="http://schemas.microsoft.com/office/drawing/2014/main" id="{2EA7C03E-9632-4668-9117-C7CB1233B5F2}"/>
                  </a:ext>
                </a:extLst>
              </p:cNvPr>
              <p:cNvSpPr txBox="1"/>
              <p:nvPr/>
            </p:nvSpPr>
            <p:spPr>
              <a:xfrm>
                <a:off x="462456" y="12774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IBP</a:t>
                </a:r>
              </a:p>
            </p:txBody>
          </p:sp>
        </p:grpSp>
        <p:grpSp>
          <p:nvGrpSpPr>
            <p:cNvPr id="70" name="Groep 69">
              <a:extLst>
                <a:ext uri="{FF2B5EF4-FFF2-40B4-BE49-F238E27FC236}">
                  <a16:creationId xmlns:a16="http://schemas.microsoft.com/office/drawing/2014/main" id="{F926EDB7-EFDB-4028-A48E-7B5CFF1AD185}"/>
                </a:ext>
              </a:extLst>
            </p:cNvPr>
            <p:cNvGrpSpPr/>
            <p:nvPr/>
          </p:nvGrpSpPr>
          <p:grpSpPr>
            <a:xfrm>
              <a:off x="1729413" y="2970609"/>
              <a:ext cx="2287835" cy="916783"/>
              <a:chOff x="1639858" y="1278890"/>
              <a:chExt cx="2287835" cy="916783"/>
            </a:xfrm>
          </p:grpSpPr>
          <p:sp>
            <p:nvSpPr>
              <p:cNvPr id="83" name="Pijl: punthaak 82">
                <a:extLst>
                  <a:ext uri="{FF2B5EF4-FFF2-40B4-BE49-F238E27FC236}">
                    <a16:creationId xmlns:a16="http://schemas.microsoft.com/office/drawing/2014/main" id="{6175F220-E7C9-4605-87B0-F33445E3CCEA}"/>
                  </a:ext>
                </a:extLst>
              </p:cNvPr>
              <p:cNvSpPr/>
              <p:nvPr/>
            </p:nvSpPr>
            <p:spPr>
              <a:xfrm>
                <a:off x="1639858" y="12788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4" name="Pijl: punthaak 6">
                <a:extLst>
                  <a:ext uri="{FF2B5EF4-FFF2-40B4-BE49-F238E27FC236}">
                    <a16:creationId xmlns:a16="http://schemas.microsoft.com/office/drawing/2014/main" id="{C0361320-D902-40F5-A5B7-84F5E1BD854F}"/>
                  </a:ext>
                </a:extLst>
              </p:cNvPr>
              <p:cNvSpPr txBox="1"/>
              <p:nvPr/>
            </p:nvSpPr>
            <p:spPr>
              <a:xfrm>
                <a:off x="2098250" y="12788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ClrTx/>
                  <a:buSzTx/>
                  <a:buFont typeface="+mj-lt"/>
                  <a:buNone/>
                </a:pPr>
                <a:r>
                  <a:rPr lang="nl-NL" sz="900" kern="1200"/>
                  <a:t>Gezamenlijk IBP Beleid opgesteld</a:t>
                </a:r>
              </a:p>
              <a:p>
                <a:pPr marL="0" lvl="0" indent="0" algn="ctr" defTabSz="400050">
                  <a:lnSpc>
                    <a:spcPct val="90000"/>
                  </a:lnSpc>
                  <a:spcBef>
                    <a:spcPct val="0"/>
                  </a:spcBef>
                  <a:spcAft>
                    <a:spcPct val="35000"/>
                  </a:spcAft>
                  <a:buClrTx/>
                  <a:buSzTx/>
                  <a:buFont typeface="+mj-lt"/>
                  <a:buNone/>
                </a:pPr>
                <a:r>
                  <a:rPr lang="nl-NL" sz="900"/>
                  <a:t>Risicomanagement ingericht</a:t>
                </a:r>
                <a:endParaRPr lang="nl-NL" sz="900" kern="1200"/>
              </a:p>
            </p:txBody>
          </p:sp>
        </p:grpSp>
        <p:grpSp>
          <p:nvGrpSpPr>
            <p:cNvPr id="71" name="Groep 70">
              <a:extLst>
                <a:ext uri="{FF2B5EF4-FFF2-40B4-BE49-F238E27FC236}">
                  <a16:creationId xmlns:a16="http://schemas.microsoft.com/office/drawing/2014/main" id="{F0F21474-52C7-458E-9FAD-8A487C9BFE83}"/>
                </a:ext>
              </a:extLst>
            </p:cNvPr>
            <p:cNvGrpSpPr/>
            <p:nvPr/>
          </p:nvGrpSpPr>
          <p:grpSpPr>
            <a:xfrm>
              <a:off x="3750065" y="2970605"/>
              <a:ext cx="2287835" cy="916790"/>
              <a:chOff x="3660510" y="1278886"/>
              <a:chExt cx="2287835" cy="916790"/>
            </a:xfrm>
          </p:grpSpPr>
          <p:sp>
            <p:nvSpPr>
              <p:cNvPr id="81" name="Pijl: punthaak 80">
                <a:extLst>
                  <a:ext uri="{FF2B5EF4-FFF2-40B4-BE49-F238E27FC236}">
                    <a16:creationId xmlns:a16="http://schemas.microsoft.com/office/drawing/2014/main" id="{7AB8C1B4-D46F-418B-8E41-268094D3BA22}"/>
                  </a:ext>
                </a:extLst>
              </p:cNvPr>
              <p:cNvSpPr/>
              <p:nvPr/>
            </p:nvSpPr>
            <p:spPr>
              <a:xfrm>
                <a:off x="3660510"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2" name="Pijl: punthaak 8">
                <a:extLst>
                  <a:ext uri="{FF2B5EF4-FFF2-40B4-BE49-F238E27FC236}">
                    <a16:creationId xmlns:a16="http://schemas.microsoft.com/office/drawing/2014/main" id="{BC2BA23A-FDBD-4388-A6D2-96A853FA9188}"/>
                  </a:ext>
                </a:extLst>
              </p:cNvPr>
              <p:cNvSpPr txBox="1"/>
              <p:nvPr/>
            </p:nvSpPr>
            <p:spPr>
              <a:xfrm>
                <a:off x="4118905"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Font typeface="+mj-lt"/>
                  <a:buNone/>
                </a:pPr>
                <a:r>
                  <a:rPr lang="nl-NL" sz="900" kern="1200"/>
                  <a:t>IBP geïntegreerd en geïmplementeerd</a:t>
                </a:r>
              </a:p>
              <a:p>
                <a:pPr marL="0" lvl="0" indent="0" algn="ctr" defTabSz="400050">
                  <a:lnSpc>
                    <a:spcPct val="90000"/>
                  </a:lnSpc>
                  <a:spcBef>
                    <a:spcPct val="0"/>
                  </a:spcBef>
                  <a:spcAft>
                    <a:spcPts val="600"/>
                  </a:spcAft>
                  <a:buFont typeface="+mj-lt"/>
                  <a:buNone/>
                </a:pPr>
                <a:r>
                  <a:rPr lang="nl-NL" sz="900" kern="1200"/>
                  <a:t>BCM plan en beleid</a:t>
                </a:r>
                <a:endParaRPr lang="nl-NL" sz="900" kern="1200">
                  <a:solidFill>
                    <a:srgbClr val="C00000"/>
                  </a:solidFill>
                </a:endParaRPr>
              </a:p>
            </p:txBody>
          </p:sp>
        </p:grpSp>
        <p:grpSp>
          <p:nvGrpSpPr>
            <p:cNvPr id="72" name="Groep 71">
              <a:extLst>
                <a:ext uri="{FF2B5EF4-FFF2-40B4-BE49-F238E27FC236}">
                  <a16:creationId xmlns:a16="http://schemas.microsoft.com/office/drawing/2014/main" id="{F0C67E99-966F-42C0-996B-970DE366D182}"/>
                </a:ext>
              </a:extLst>
            </p:cNvPr>
            <p:cNvGrpSpPr/>
            <p:nvPr/>
          </p:nvGrpSpPr>
          <p:grpSpPr>
            <a:xfrm>
              <a:off x="5770717" y="2970605"/>
              <a:ext cx="2287835" cy="916790"/>
              <a:chOff x="5681162" y="1278886"/>
              <a:chExt cx="2287835" cy="916790"/>
            </a:xfrm>
          </p:grpSpPr>
          <p:sp>
            <p:nvSpPr>
              <p:cNvPr id="79" name="Pijl: punthaak 78">
                <a:extLst>
                  <a:ext uri="{FF2B5EF4-FFF2-40B4-BE49-F238E27FC236}">
                    <a16:creationId xmlns:a16="http://schemas.microsoft.com/office/drawing/2014/main" id="{AD96FDD9-B7E3-4314-BFE1-412CD0FB6F55}"/>
                  </a:ext>
                </a:extLst>
              </p:cNvPr>
              <p:cNvSpPr/>
              <p:nvPr/>
            </p:nvSpPr>
            <p:spPr>
              <a:xfrm>
                <a:off x="5681162"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0" name="Pijl: punthaak 10">
                <a:extLst>
                  <a:ext uri="{FF2B5EF4-FFF2-40B4-BE49-F238E27FC236}">
                    <a16:creationId xmlns:a16="http://schemas.microsoft.com/office/drawing/2014/main" id="{8365F7E6-7228-4040-8887-B5B566F4FC3C}"/>
                  </a:ext>
                </a:extLst>
              </p:cNvPr>
              <p:cNvSpPr txBox="1"/>
              <p:nvPr/>
            </p:nvSpPr>
            <p:spPr>
              <a:xfrm>
                <a:off x="6139557"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BCM op orde en geïntegreerd </a:t>
                </a:r>
              </a:p>
            </p:txBody>
          </p:sp>
        </p:grpSp>
        <p:grpSp>
          <p:nvGrpSpPr>
            <p:cNvPr id="73" name="Groep 72">
              <a:extLst>
                <a:ext uri="{FF2B5EF4-FFF2-40B4-BE49-F238E27FC236}">
                  <a16:creationId xmlns:a16="http://schemas.microsoft.com/office/drawing/2014/main" id="{BC1822F0-3E31-4423-8CF4-5BF511D9BF69}"/>
                </a:ext>
              </a:extLst>
            </p:cNvPr>
            <p:cNvGrpSpPr/>
            <p:nvPr/>
          </p:nvGrpSpPr>
          <p:grpSpPr>
            <a:xfrm>
              <a:off x="7791369" y="2970605"/>
              <a:ext cx="2287835" cy="916790"/>
              <a:chOff x="7701814" y="1278886"/>
              <a:chExt cx="2287835" cy="916790"/>
            </a:xfrm>
          </p:grpSpPr>
          <p:sp>
            <p:nvSpPr>
              <p:cNvPr id="77" name="Pijl: punthaak 76">
                <a:extLst>
                  <a:ext uri="{FF2B5EF4-FFF2-40B4-BE49-F238E27FC236}">
                    <a16:creationId xmlns:a16="http://schemas.microsoft.com/office/drawing/2014/main" id="{B2C8E013-EB22-470B-B72C-145C1081906D}"/>
                  </a:ext>
                </a:extLst>
              </p:cNvPr>
              <p:cNvSpPr/>
              <p:nvPr/>
            </p:nvSpPr>
            <p:spPr>
              <a:xfrm>
                <a:off x="7701814"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8" name="Pijl: punthaak 12">
                <a:extLst>
                  <a:ext uri="{FF2B5EF4-FFF2-40B4-BE49-F238E27FC236}">
                    <a16:creationId xmlns:a16="http://schemas.microsoft.com/office/drawing/2014/main" id="{940EB450-D52A-4E79-859F-CC560711FBB9}"/>
                  </a:ext>
                </a:extLst>
              </p:cNvPr>
              <p:cNvSpPr txBox="1"/>
              <p:nvPr/>
            </p:nvSpPr>
            <p:spPr>
              <a:xfrm>
                <a:off x="8160209"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74" name="Groep 73">
              <a:extLst>
                <a:ext uri="{FF2B5EF4-FFF2-40B4-BE49-F238E27FC236}">
                  <a16:creationId xmlns:a16="http://schemas.microsoft.com/office/drawing/2014/main" id="{F121C36F-8C32-4C10-BA9D-71E3C74DB9B2}"/>
                </a:ext>
              </a:extLst>
            </p:cNvPr>
            <p:cNvGrpSpPr/>
            <p:nvPr/>
          </p:nvGrpSpPr>
          <p:grpSpPr>
            <a:xfrm>
              <a:off x="9812021" y="2970605"/>
              <a:ext cx="2287835" cy="916790"/>
              <a:chOff x="9722466" y="1278886"/>
              <a:chExt cx="2287835" cy="916790"/>
            </a:xfrm>
          </p:grpSpPr>
          <p:sp>
            <p:nvSpPr>
              <p:cNvPr id="75" name="Pijl: punthaak 74">
                <a:extLst>
                  <a:ext uri="{FF2B5EF4-FFF2-40B4-BE49-F238E27FC236}">
                    <a16:creationId xmlns:a16="http://schemas.microsoft.com/office/drawing/2014/main" id="{B42D8D98-957C-426A-9B49-8F159D61003E}"/>
                  </a:ext>
                </a:extLst>
              </p:cNvPr>
              <p:cNvSpPr/>
              <p:nvPr/>
            </p:nvSpPr>
            <p:spPr>
              <a:xfrm>
                <a:off x="9722466"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6" name="Pijl: punthaak 14">
                <a:extLst>
                  <a:ext uri="{FF2B5EF4-FFF2-40B4-BE49-F238E27FC236}">
                    <a16:creationId xmlns:a16="http://schemas.microsoft.com/office/drawing/2014/main" id="{7260B264-7B2A-4FC1-B220-CF4C1114DC0B}"/>
                  </a:ext>
                </a:extLst>
              </p:cNvPr>
              <p:cNvSpPr txBox="1"/>
              <p:nvPr/>
            </p:nvSpPr>
            <p:spPr>
              <a:xfrm>
                <a:off x="10180861"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graphicFrame>
        <p:nvGraphicFramePr>
          <p:cNvPr id="33" name="Diagram 32">
            <a:extLst>
              <a:ext uri="{FF2B5EF4-FFF2-40B4-BE49-F238E27FC236}">
                <a16:creationId xmlns:a16="http://schemas.microsoft.com/office/drawing/2014/main" id="{96A50AC8-74F2-44A3-9D26-1C1A431FEC9F}"/>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55139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8"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800" b="1"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grpSp>
        <p:nvGrpSpPr>
          <p:cNvPr id="2" name="Groep 1">
            <a:extLst>
              <a:ext uri="{FF2B5EF4-FFF2-40B4-BE49-F238E27FC236}">
                <a16:creationId xmlns:a16="http://schemas.microsoft.com/office/drawing/2014/main" id="{9FF58338-80B9-476E-90D0-8552AAA738CC}"/>
              </a:ext>
            </a:extLst>
          </p:cNvPr>
          <p:cNvGrpSpPr/>
          <p:nvPr/>
        </p:nvGrpSpPr>
        <p:grpSpPr>
          <a:xfrm>
            <a:off x="92140" y="1365392"/>
            <a:ext cx="12007713" cy="919736"/>
            <a:chOff x="92143" y="2969132"/>
            <a:chExt cx="12007713" cy="919736"/>
          </a:xfrm>
        </p:grpSpPr>
        <p:grpSp>
          <p:nvGrpSpPr>
            <p:cNvPr id="47" name="Groep 46">
              <a:extLst>
                <a:ext uri="{FF2B5EF4-FFF2-40B4-BE49-F238E27FC236}">
                  <a16:creationId xmlns:a16="http://schemas.microsoft.com/office/drawing/2014/main" id="{E14A7B66-EBC1-4497-B365-F90F51D2D123}"/>
                </a:ext>
              </a:extLst>
            </p:cNvPr>
            <p:cNvGrpSpPr/>
            <p:nvPr/>
          </p:nvGrpSpPr>
          <p:grpSpPr>
            <a:xfrm>
              <a:off x="92143" y="2969132"/>
              <a:ext cx="1936184" cy="919736"/>
              <a:chOff x="2588" y="2325913"/>
              <a:chExt cx="1936184" cy="919736"/>
            </a:xfrm>
          </p:grpSpPr>
          <p:sp>
            <p:nvSpPr>
              <p:cNvPr id="64" name="Pijl: punthaak 63">
                <a:extLst>
                  <a:ext uri="{FF2B5EF4-FFF2-40B4-BE49-F238E27FC236}">
                    <a16:creationId xmlns:a16="http://schemas.microsoft.com/office/drawing/2014/main" id="{AAD89477-8499-4BFE-83AF-0C77868D5A28}"/>
                  </a:ext>
                </a:extLst>
              </p:cNvPr>
              <p:cNvSpPr/>
              <p:nvPr/>
            </p:nvSpPr>
            <p:spPr>
              <a:xfrm>
                <a:off x="2588" y="23259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5" name="Pijl: punthaak 4">
                <a:extLst>
                  <a:ext uri="{FF2B5EF4-FFF2-40B4-BE49-F238E27FC236}">
                    <a16:creationId xmlns:a16="http://schemas.microsoft.com/office/drawing/2014/main" id="{B6F47040-DBEF-4C5B-BDE8-98FBDCA2FE82}"/>
                  </a:ext>
                </a:extLst>
              </p:cNvPr>
              <p:cNvSpPr txBox="1"/>
              <p:nvPr/>
            </p:nvSpPr>
            <p:spPr>
              <a:xfrm>
                <a:off x="462456" y="23259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marR="0" lvl="0" indent="0" algn="ctr" defTabSz="444500" rtl="0" eaLnBrk="1" fontAlgn="base" latinLnBrk="0" hangingPunct="1">
                  <a:lnSpc>
                    <a:spcPct val="90000"/>
                  </a:lnSpc>
                  <a:spcBef>
                    <a:spcPct val="0"/>
                  </a:spcBef>
                  <a:spcAft>
                    <a:spcPct val="35000"/>
                  </a:spcAft>
                  <a:buClrTx/>
                  <a:buSzTx/>
                  <a:buFontTx/>
                  <a:buNone/>
                  <a:tabLst/>
                  <a:defRPr/>
                </a:pPr>
                <a:r>
                  <a:rPr kumimoji="0" lang="nl-NL" sz="1000" b="0" i="0" u="none" strike="noStrike" kern="1200" cap="none" spc="0" normalizeH="0" baseline="0" noProof="0">
                    <a:ln>
                      <a:noFill/>
                    </a:ln>
                    <a:solidFill>
                      <a:srgbClr val="FFFFFF"/>
                    </a:solidFill>
                    <a:effectLst/>
                    <a:uLnTx/>
                    <a:uFillTx/>
                    <a:latin typeface="Verdana"/>
                    <a:ea typeface="+mn-ea"/>
                    <a:cs typeface="+mn-cs"/>
                  </a:rPr>
                  <a:t>Modernisering</a:t>
                </a:r>
              </a:p>
            </p:txBody>
          </p:sp>
        </p:grpSp>
        <p:grpSp>
          <p:nvGrpSpPr>
            <p:cNvPr id="49" name="Groep 48">
              <a:extLst>
                <a:ext uri="{FF2B5EF4-FFF2-40B4-BE49-F238E27FC236}">
                  <a16:creationId xmlns:a16="http://schemas.microsoft.com/office/drawing/2014/main" id="{662FECCF-F399-4268-A46F-8E6E7C3B0D75}"/>
                </a:ext>
              </a:extLst>
            </p:cNvPr>
            <p:cNvGrpSpPr/>
            <p:nvPr/>
          </p:nvGrpSpPr>
          <p:grpSpPr>
            <a:xfrm>
              <a:off x="1729413" y="2970609"/>
              <a:ext cx="2287835" cy="916783"/>
              <a:chOff x="1639858" y="2327390"/>
              <a:chExt cx="2287835" cy="916783"/>
            </a:xfrm>
          </p:grpSpPr>
          <p:sp>
            <p:nvSpPr>
              <p:cNvPr id="62" name="Pijl: punthaak 61">
                <a:extLst>
                  <a:ext uri="{FF2B5EF4-FFF2-40B4-BE49-F238E27FC236}">
                    <a16:creationId xmlns:a16="http://schemas.microsoft.com/office/drawing/2014/main" id="{8B3289B8-90F7-477F-8724-9B46E20D2AB4}"/>
                  </a:ext>
                </a:extLst>
              </p:cNvPr>
              <p:cNvSpPr/>
              <p:nvPr/>
            </p:nvSpPr>
            <p:spPr>
              <a:xfrm>
                <a:off x="1639858" y="23273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3" name="Pijl: punthaak 6">
                <a:extLst>
                  <a:ext uri="{FF2B5EF4-FFF2-40B4-BE49-F238E27FC236}">
                    <a16:creationId xmlns:a16="http://schemas.microsoft.com/office/drawing/2014/main" id="{210AC4CC-2EE8-4A50-AACB-C111DADED9CA}"/>
                  </a:ext>
                </a:extLst>
              </p:cNvPr>
              <p:cNvSpPr txBox="1"/>
              <p:nvPr/>
            </p:nvSpPr>
            <p:spPr>
              <a:xfrm>
                <a:off x="2098250" y="23273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marR="0" lvl="0" indent="0" algn="ctr" defTabSz="400050" rtl="0" eaLnBrk="1" fontAlgn="base" latinLnBrk="0" hangingPunct="1">
                  <a:lnSpc>
                    <a:spcPct val="90000"/>
                  </a:lnSpc>
                  <a:spcBef>
                    <a:spcPct val="0"/>
                  </a:spcBef>
                  <a:spcAft>
                    <a:spcPts val="600"/>
                  </a:spcAft>
                  <a:buClrTx/>
                  <a:buSzTx/>
                  <a:buFont typeface="Arial" panose="020B0604020202020204" pitchFamily="34" charset="0"/>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Europese Aanbesteding nieuwbouw websites en beheer</a:t>
                </a:r>
              </a:p>
              <a:p>
                <a:pPr marL="0" marR="0" lvl="0" indent="0" algn="ctr" defTabSz="400050" rtl="0" eaLnBrk="1" fontAlgn="base" latinLnBrk="0" hangingPunct="1">
                  <a:lnSpc>
                    <a:spcPct val="90000"/>
                  </a:lnSpc>
                  <a:spcBef>
                    <a:spcPct val="0"/>
                  </a:spcBef>
                  <a:spcAft>
                    <a:spcPts val="600"/>
                  </a:spcAft>
                  <a:buClrTx/>
                  <a:buSzTx/>
                  <a:buFont typeface="Arial" panose="020B0604020202020204" pitchFamily="34" charset="0"/>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Europese Aanbesteding voor ICT-componenten</a:t>
                </a:r>
              </a:p>
              <a:p>
                <a:pPr marL="0" marR="0" lvl="0" indent="0" algn="ctr" defTabSz="400050" rtl="0" eaLnBrk="1" fontAlgn="base" latinLnBrk="0" hangingPunct="1">
                  <a:lnSpc>
                    <a:spcPct val="90000"/>
                  </a:lnSpc>
                  <a:spcBef>
                    <a:spcPct val="0"/>
                  </a:spcBef>
                  <a:spcAft>
                    <a:spcPts val="600"/>
                  </a:spcAft>
                  <a:buClrTx/>
                  <a:buSzTx/>
                  <a:buFont typeface="Arial" panose="020B0604020202020204" pitchFamily="34" charset="0"/>
                  <a:buNone/>
                  <a:tabLst/>
                  <a:defRPr/>
                </a:pPr>
                <a:r>
                  <a:rPr kumimoji="0" lang="nl-NL" sz="900" b="0" i="0" u="none" strike="noStrike" kern="1200" cap="none" spc="0" normalizeH="0" baseline="0" noProof="0" err="1">
                    <a:ln>
                      <a:noFill/>
                    </a:ln>
                    <a:solidFill>
                      <a:srgbClr val="000000">
                        <a:hueOff val="0"/>
                        <a:satOff val="0"/>
                        <a:lumOff val="0"/>
                        <a:alphaOff val="0"/>
                      </a:srgbClr>
                    </a:solidFill>
                    <a:effectLst/>
                    <a:uLnTx/>
                    <a:uFillTx/>
                    <a:latin typeface="Verdana"/>
                    <a:ea typeface="+mn-ea"/>
                    <a:cs typeface="+mn-cs"/>
                  </a:rPr>
                  <a:t>Quartz</a:t>
                </a: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 </a:t>
                </a:r>
                <a:r>
                  <a:rPr kumimoji="0" lang="nl-NL" sz="900" b="0" i="0" u="none" strike="noStrike" kern="1200" cap="none" spc="0" normalizeH="0" baseline="0" noProof="0" err="1">
                    <a:ln>
                      <a:noFill/>
                    </a:ln>
                    <a:solidFill>
                      <a:srgbClr val="000000">
                        <a:hueOff val="0"/>
                        <a:satOff val="0"/>
                        <a:lumOff val="0"/>
                        <a:alphaOff val="0"/>
                      </a:srgbClr>
                    </a:solidFill>
                    <a:effectLst/>
                    <a:uLnTx/>
                    <a:uFillTx/>
                    <a:latin typeface="Verdana"/>
                    <a:ea typeface="+mn-ea"/>
                    <a:cs typeface="+mn-cs"/>
                  </a:rPr>
                  <a:t>Wbtv</a:t>
                </a:r>
                <a:endPar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endParaRPr>
              </a:p>
            </p:txBody>
          </p:sp>
        </p:grpSp>
        <p:grpSp>
          <p:nvGrpSpPr>
            <p:cNvPr id="50" name="Groep 49">
              <a:extLst>
                <a:ext uri="{FF2B5EF4-FFF2-40B4-BE49-F238E27FC236}">
                  <a16:creationId xmlns:a16="http://schemas.microsoft.com/office/drawing/2014/main" id="{A16841BF-7D7C-441B-BE28-226BA46D3534}"/>
                </a:ext>
              </a:extLst>
            </p:cNvPr>
            <p:cNvGrpSpPr/>
            <p:nvPr/>
          </p:nvGrpSpPr>
          <p:grpSpPr>
            <a:xfrm>
              <a:off x="3750065" y="2970605"/>
              <a:ext cx="2287835" cy="916790"/>
              <a:chOff x="3660510" y="2327386"/>
              <a:chExt cx="2287835" cy="916790"/>
            </a:xfrm>
          </p:grpSpPr>
          <p:sp>
            <p:nvSpPr>
              <p:cNvPr id="60" name="Pijl: punthaak 59">
                <a:extLst>
                  <a:ext uri="{FF2B5EF4-FFF2-40B4-BE49-F238E27FC236}">
                    <a16:creationId xmlns:a16="http://schemas.microsoft.com/office/drawing/2014/main" id="{5647866D-BD81-4D60-A2A8-1B40A09C2C6B}"/>
                  </a:ext>
                </a:extLst>
              </p:cNvPr>
              <p:cNvSpPr/>
              <p:nvPr/>
            </p:nvSpPr>
            <p:spPr>
              <a:xfrm>
                <a:off x="3660510"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1" name="Pijl: punthaak 8">
                <a:extLst>
                  <a:ext uri="{FF2B5EF4-FFF2-40B4-BE49-F238E27FC236}">
                    <a16:creationId xmlns:a16="http://schemas.microsoft.com/office/drawing/2014/main" id="{87BBD4BA-3B9E-4AA6-9EB8-14E3B1062A63}"/>
                  </a:ext>
                </a:extLst>
              </p:cNvPr>
              <p:cNvSpPr txBox="1"/>
              <p:nvPr/>
            </p:nvSpPr>
            <p:spPr>
              <a:xfrm>
                <a:off x="4118905"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RBV-portaal bouwen</a:t>
                </a:r>
              </a:p>
              <a:p>
                <a:pPr marL="0" marR="0" lvl="0" indent="0" algn="ctr" defTabSz="400050" rtl="0" eaLnBrk="1" fontAlgn="base" latinLnBrk="0" hangingPunct="1">
                  <a:lnSpc>
                    <a:spcPct val="90000"/>
                  </a:lnSpc>
                  <a:spcBef>
                    <a:spcPct val="0"/>
                  </a:spcBef>
                  <a:spcAft>
                    <a:spcPts val="600"/>
                  </a:spcAft>
                  <a:buClrTx/>
                  <a:buSzTx/>
                  <a:buFont typeface="Arial" panose="020B0604020202020204" pitchFamily="34" charset="0"/>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Websites bouwen</a:t>
                </a:r>
              </a:p>
              <a:p>
                <a:pPr marL="0" marR="0" lvl="0" indent="0" algn="ctr" defTabSz="400050" rtl="0" eaLnBrk="1" fontAlgn="base" latinLnBrk="0" hangingPunct="1">
                  <a:lnSpc>
                    <a:spcPct val="90000"/>
                  </a:lnSpc>
                  <a:spcBef>
                    <a:spcPct val="0"/>
                  </a:spcBef>
                  <a:spcAft>
                    <a:spcPts val="600"/>
                  </a:spcAft>
                  <a:buClrTx/>
                  <a:buSzTx/>
                  <a:buFont typeface="Arial" panose="020B0604020202020204" pitchFamily="34" charset="0"/>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Piketapplicatie realiseren</a:t>
                </a:r>
                <a:endParaRPr kumimoji="0" lang="nl-NL" sz="900" b="0" i="0" u="none" strike="noStrike" kern="1200" cap="none" spc="0" normalizeH="0" baseline="0" noProof="0">
                  <a:ln>
                    <a:noFill/>
                  </a:ln>
                  <a:solidFill>
                    <a:srgbClr val="C00000"/>
                  </a:solidFill>
                  <a:effectLst/>
                  <a:uLnTx/>
                  <a:uFillTx/>
                  <a:latin typeface="Verdana"/>
                  <a:ea typeface="+mn-ea"/>
                  <a:cs typeface="+mn-cs"/>
                </a:endParaRPr>
              </a:p>
            </p:txBody>
          </p:sp>
        </p:grpSp>
        <p:grpSp>
          <p:nvGrpSpPr>
            <p:cNvPr id="51" name="Groep 50">
              <a:extLst>
                <a:ext uri="{FF2B5EF4-FFF2-40B4-BE49-F238E27FC236}">
                  <a16:creationId xmlns:a16="http://schemas.microsoft.com/office/drawing/2014/main" id="{928D325D-D072-4D6A-B0CD-DD25B172C89D}"/>
                </a:ext>
              </a:extLst>
            </p:cNvPr>
            <p:cNvGrpSpPr/>
            <p:nvPr/>
          </p:nvGrpSpPr>
          <p:grpSpPr>
            <a:xfrm>
              <a:off x="5770717" y="2970605"/>
              <a:ext cx="2287835" cy="916790"/>
              <a:chOff x="5681162" y="2327386"/>
              <a:chExt cx="2287835" cy="916790"/>
            </a:xfrm>
          </p:grpSpPr>
          <p:sp>
            <p:nvSpPr>
              <p:cNvPr id="58" name="Pijl: punthaak 57">
                <a:extLst>
                  <a:ext uri="{FF2B5EF4-FFF2-40B4-BE49-F238E27FC236}">
                    <a16:creationId xmlns:a16="http://schemas.microsoft.com/office/drawing/2014/main" id="{FD5CA82E-9F1C-4954-AD34-4B9A4CD1FD0D}"/>
                  </a:ext>
                </a:extLst>
              </p:cNvPr>
              <p:cNvSpPr/>
              <p:nvPr/>
            </p:nvSpPr>
            <p:spPr>
              <a:xfrm>
                <a:off x="5681162"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9" name="Pijl: punthaak 10">
                <a:extLst>
                  <a:ext uri="{FF2B5EF4-FFF2-40B4-BE49-F238E27FC236}">
                    <a16:creationId xmlns:a16="http://schemas.microsoft.com/office/drawing/2014/main" id="{33FD1556-1016-4D86-88F0-AA443C7A9D8C}"/>
                  </a:ext>
                </a:extLst>
              </p:cNvPr>
              <p:cNvSpPr txBox="1"/>
              <p:nvPr/>
            </p:nvSpPr>
            <p:spPr>
              <a:xfrm>
                <a:off x="6139557"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marR="0" lvl="0" indent="0" algn="ctr" defTabSz="400050" rtl="0" eaLnBrk="1" fontAlgn="base" latinLnBrk="0" hangingPunct="1">
                  <a:lnSpc>
                    <a:spcPct val="90000"/>
                  </a:lnSpc>
                  <a:spcBef>
                    <a:spcPct val="0"/>
                  </a:spcBef>
                  <a:spcAft>
                    <a:spcPts val="600"/>
                  </a:spcAft>
                  <a:buClrTx/>
                  <a:buSzTx/>
                  <a:buFontTx/>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Oude </a:t>
                </a:r>
                <a:r>
                  <a:rPr kumimoji="0" lang="nl-NL" sz="900" b="0" i="0" u="none" strike="noStrike" kern="1200" cap="none" spc="0" normalizeH="0" baseline="0" noProof="0" err="1">
                    <a:ln>
                      <a:noFill/>
                    </a:ln>
                    <a:solidFill>
                      <a:srgbClr val="000000">
                        <a:hueOff val="0"/>
                        <a:satOff val="0"/>
                        <a:lumOff val="0"/>
                        <a:alphaOff val="0"/>
                      </a:srgbClr>
                    </a:solidFill>
                    <a:effectLst/>
                    <a:uLnTx/>
                    <a:uFillTx/>
                    <a:latin typeface="Verdana"/>
                    <a:ea typeface="+mn-ea"/>
                    <a:cs typeface="+mn-cs"/>
                  </a:rPr>
                  <a:t>MijnRvR</a:t>
                </a: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 </a:t>
                </a:r>
                <a:r>
                  <a:rPr kumimoji="0" lang="nl-NL" sz="900" b="0" i="0" u="none" strike="noStrike" kern="1200" cap="none" spc="0" normalizeH="0" baseline="0" noProof="0" err="1">
                    <a:ln>
                      <a:noFill/>
                    </a:ln>
                    <a:solidFill>
                      <a:srgbClr val="000000">
                        <a:hueOff val="0"/>
                        <a:satOff val="0"/>
                        <a:lumOff val="0"/>
                        <a:alphaOff val="0"/>
                      </a:srgbClr>
                    </a:solidFill>
                    <a:effectLst/>
                    <a:uLnTx/>
                    <a:uFillTx/>
                    <a:latin typeface="Verdana"/>
                    <a:ea typeface="+mn-ea"/>
                    <a:cs typeface="+mn-cs"/>
                  </a:rPr>
                  <a:t>uitfaseren</a:t>
                </a:r>
                <a:endPar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endParaRPr>
              </a:p>
              <a:p>
                <a:pPr marL="0" marR="0" lvl="0" indent="0" algn="ctr" defTabSz="400050" rtl="0" eaLnBrk="1" fontAlgn="base" latinLnBrk="0" hangingPunct="1">
                  <a:lnSpc>
                    <a:spcPct val="90000"/>
                  </a:lnSpc>
                  <a:spcBef>
                    <a:spcPct val="0"/>
                  </a:spcBef>
                  <a:spcAft>
                    <a:spcPts val="600"/>
                  </a:spcAft>
                  <a:buClrTx/>
                  <a:buSzTx/>
                  <a:buFontTx/>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Oude </a:t>
                </a:r>
                <a:r>
                  <a:rPr kumimoji="0" lang="nl-NL" sz="900" b="0" i="0" u="none" strike="noStrike" kern="1200" cap="none" spc="0" normalizeH="0" baseline="0" noProof="0" err="1">
                    <a:ln>
                      <a:noFill/>
                    </a:ln>
                    <a:solidFill>
                      <a:srgbClr val="000000">
                        <a:hueOff val="0"/>
                        <a:satOff val="0"/>
                        <a:lumOff val="0"/>
                        <a:alphaOff val="0"/>
                      </a:srgbClr>
                    </a:solidFill>
                    <a:effectLst/>
                    <a:uLnTx/>
                    <a:uFillTx/>
                    <a:latin typeface="Verdana"/>
                    <a:ea typeface="+mn-ea"/>
                    <a:cs typeface="+mn-cs"/>
                  </a:rPr>
                  <a:t>integratielaag</a:t>
                </a: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 en brieventool </a:t>
                </a:r>
                <a:r>
                  <a:rPr kumimoji="0" lang="nl-NL" sz="900" b="0" i="0" u="none" strike="noStrike" kern="1200" cap="none" spc="0" normalizeH="0" baseline="0" noProof="0" err="1">
                    <a:ln>
                      <a:noFill/>
                    </a:ln>
                    <a:solidFill>
                      <a:srgbClr val="000000">
                        <a:hueOff val="0"/>
                        <a:satOff val="0"/>
                        <a:lumOff val="0"/>
                        <a:alphaOff val="0"/>
                      </a:srgbClr>
                    </a:solidFill>
                    <a:effectLst/>
                    <a:uLnTx/>
                    <a:uFillTx/>
                    <a:latin typeface="Verdana"/>
                    <a:ea typeface="+mn-ea"/>
                    <a:cs typeface="+mn-cs"/>
                  </a:rPr>
                  <a:t>uitfaseren</a:t>
                </a:r>
                <a:endPar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endParaRPr>
              </a:p>
            </p:txBody>
          </p:sp>
        </p:grpSp>
        <p:grpSp>
          <p:nvGrpSpPr>
            <p:cNvPr id="52" name="Groep 51">
              <a:extLst>
                <a:ext uri="{FF2B5EF4-FFF2-40B4-BE49-F238E27FC236}">
                  <a16:creationId xmlns:a16="http://schemas.microsoft.com/office/drawing/2014/main" id="{D29DDCD3-776A-43AB-9F95-2AD260459EF6}"/>
                </a:ext>
              </a:extLst>
            </p:cNvPr>
            <p:cNvGrpSpPr/>
            <p:nvPr/>
          </p:nvGrpSpPr>
          <p:grpSpPr>
            <a:xfrm>
              <a:off x="7791369" y="2970605"/>
              <a:ext cx="2287835" cy="916790"/>
              <a:chOff x="7701814" y="2327386"/>
              <a:chExt cx="2287835" cy="916790"/>
            </a:xfrm>
          </p:grpSpPr>
          <p:sp>
            <p:nvSpPr>
              <p:cNvPr id="56" name="Pijl: punthaak 55">
                <a:extLst>
                  <a:ext uri="{FF2B5EF4-FFF2-40B4-BE49-F238E27FC236}">
                    <a16:creationId xmlns:a16="http://schemas.microsoft.com/office/drawing/2014/main" id="{89E53C77-55BC-4B55-A3C0-A40FAD75328B}"/>
                  </a:ext>
                </a:extLst>
              </p:cNvPr>
              <p:cNvSpPr/>
              <p:nvPr/>
            </p:nvSpPr>
            <p:spPr>
              <a:xfrm>
                <a:off x="7701814"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7" name="Pijl: punthaak 12">
                <a:extLst>
                  <a:ext uri="{FF2B5EF4-FFF2-40B4-BE49-F238E27FC236}">
                    <a16:creationId xmlns:a16="http://schemas.microsoft.com/office/drawing/2014/main" id="{9F0CDC6B-74C0-4678-AB98-49BC1B1FD4BB}"/>
                  </a:ext>
                </a:extLst>
              </p:cNvPr>
              <p:cNvSpPr txBox="1"/>
              <p:nvPr/>
            </p:nvSpPr>
            <p:spPr>
              <a:xfrm>
                <a:off x="8160209"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marR="0" lvl="0" indent="0" algn="ctr" defTabSz="400050" rtl="0" eaLnBrk="1" fontAlgn="base" latinLnBrk="0" hangingPunct="1">
                  <a:lnSpc>
                    <a:spcPct val="90000"/>
                  </a:lnSpc>
                  <a:spcBef>
                    <a:spcPct val="0"/>
                  </a:spcBef>
                  <a:spcAft>
                    <a:spcPct val="35000"/>
                  </a:spcAft>
                  <a:buClrTx/>
                  <a:buSzTx/>
                  <a:buFontTx/>
                  <a:buNone/>
                  <a:tabLst/>
                  <a:defRPr/>
                </a:pPr>
                <a:r>
                  <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Vervangen maatwerkdatabase en workflow-applicatie </a:t>
                </a:r>
              </a:p>
            </p:txBody>
          </p:sp>
        </p:grpSp>
        <p:grpSp>
          <p:nvGrpSpPr>
            <p:cNvPr id="53" name="Groep 52">
              <a:extLst>
                <a:ext uri="{FF2B5EF4-FFF2-40B4-BE49-F238E27FC236}">
                  <a16:creationId xmlns:a16="http://schemas.microsoft.com/office/drawing/2014/main" id="{DDE79B44-DB4F-4640-8BD9-7BE117C52720}"/>
                </a:ext>
              </a:extLst>
            </p:cNvPr>
            <p:cNvGrpSpPr/>
            <p:nvPr/>
          </p:nvGrpSpPr>
          <p:grpSpPr>
            <a:xfrm>
              <a:off x="9812021" y="2970605"/>
              <a:ext cx="2287835" cy="916790"/>
              <a:chOff x="9722466" y="2327386"/>
              <a:chExt cx="2287835" cy="916790"/>
            </a:xfrm>
          </p:grpSpPr>
          <p:sp>
            <p:nvSpPr>
              <p:cNvPr id="54" name="Pijl: punthaak 53">
                <a:extLst>
                  <a:ext uri="{FF2B5EF4-FFF2-40B4-BE49-F238E27FC236}">
                    <a16:creationId xmlns:a16="http://schemas.microsoft.com/office/drawing/2014/main" id="{53FE8580-25A3-4E06-B9FC-5882FECCEEAA}"/>
                  </a:ext>
                </a:extLst>
              </p:cNvPr>
              <p:cNvSpPr/>
              <p:nvPr/>
            </p:nvSpPr>
            <p:spPr>
              <a:xfrm>
                <a:off x="9722466"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5" name="Pijl: punthaak 14">
                <a:extLst>
                  <a:ext uri="{FF2B5EF4-FFF2-40B4-BE49-F238E27FC236}">
                    <a16:creationId xmlns:a16="http://schemas.microsoft.com/office/drawing/2014/main" id="{D008849C-E209-43F2-BB10-D5911412F47F}"/>
                  </a:ext>
                </a:extLst>
              </p:cNvPr>
              <p:cNvSpPr txBox="1"/>
              <p:nvPr/>
            </p:nvSpPr>
            <p:spPr>
              <a:xfrm>
                <a:off x="10180861"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marR="0" lvl="0" indent="0" algn="ctr" defTabSz="400050" rtl="0" eaLnBrk="1" fontAlgn="base" latinLnBrk="0" hangingPunct="1">
                  <a:lnSpc>
                    <a:spcPct val="90000"/>
                  </a:lnSpc>
                  <a:spcBef>
                    <a:spcPct val="0"/>
                  </a:spcBef>
                  <a:spcAft>
                    <a:spcPct val="35000"/>
                  </a:spcAft>
                  <a:buClrTx/>
                  <a:buSzTx/>
                  <a:buFontTx/>
                  <a:buNone/>
                  <a:tabLst/>
                  <a:defRPr/>
                </a:pPr>
                <a:endParaRPr kumimoji="0" lang="nl-NL" sz="900" b="0"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endParaRPr>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p:txBody>
          <a:bodyPr/>
          <a:lstStyle/>
          <a:p>
            <a:r>
              <a:rPr lang="nl-NL">
                <a:solidFill>
                  <a:srgbClr val="C00000"/>
                </a:solidFill>
              </a:rPr>
              <a:t>Modernisering</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2186426"/>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mj-lt"/>
                        <a:buNone/>
                      </a:pPr>
                      <a:r>
                        <a:rPr lang="nl-NL" sz="1100"/>
                        <a:t>Europese Aanbesteding nieuwbouw websites en beheer</a:t>
                      </a:r>
                    </a:p>
                  </a:txBody>
                  <a:tcPr/>
                </a:tc>
                <a:tc>
                  <a:txBody>
                    <a:bodyPr/>
                    <a:lstStyle/>
                    <a:p>
                      <a:r>
                        <a:rPr lang="nl-NL" sz="1100"/>
                        <a:t>Uitvoeren Europese Aanbesteding CMS t.b.v. nieuwbouw websites (’21)</a:t>
                      </a:r>
                    </a:p>
                  </a:txBody>
                  <a:tcPr/>
                </a:tc>
                <a:tc>
                  <a:txBody>
                    <a:bodyPr/>
                    <a:lstStyle/>
                    <a:p>
                      <a:r>
                        <a:rPr lang="nl-NL" sz="1100"/>
                        <a:t>CMS systeem</a:t>
                      </a:r>
                    </a:p>
                  </a:txBody>
                  <a:tcPr/>
                </a:tc>
                <a:tc>
                  <a:txBody>
                    <a:bodyPr/>
                    <a:lstStyle/>
                    <a:p>
                      <a:r>
                        <a:rPr lang="nl-NL" sz="1100"/>
                        <a:t>Doorlooptijd Europese Aanbesteding</a:t>
                      </a:r>
                    </a:p>
                    <a:p>
                      <a:r>
                        <a:rPr lang="nl-NL" sz="1100"/>
                        <a:t>Budget (voor nieuwbouw)</a:t>
                      </a:r>
                    </a:p>
                  </a:txBody>
                  <a:tcPr/>
                </a:tc>
                <a:extLst>
                  <a:ext uri="{0D108BD9-81ED-4DB2-BD59-A6C34878D82A}">
                    <a16:rowId xmlns:a16="http://schemas.microsoft.com/office/drawing/2014/main" val="2315363676"/>
                  </a:ext>
                </a:extLst>
              </a:tr>
              <a:tr h="580754">
                <a:tc>
                  <a:txBody>
                    <a:bodyPr/>
                    <a:lstStyle/>
                    <a:p>
                      <a:pPr marL="0" indent="0">
                        <a:buFont typeface="+mj-lt"/>
                        <a:buNone/>
                      </a:pPr>
                      <a:r>
                        <a:rPr lang="nl-NL" sz="1100"/>
                        <a:t>Europese Aanbesteding voor ICT-component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Uitvoeren Europese Aanbesteding voor ICT-componenten</a:t>
                      </a:r>
                    </a:p>
                  </a:txBody>
                  <a:tcPr/>
                </a:tc>
                <a:tc>
                  <a:txBody>
                    <a:bodyPr/>
                    <a:lstStyle/>
                    <a:p>
                      <a:r>
                        <a:rPr lang="nl-NL" sz="1100"/>
                        <a:t>CRM, Low-code platform, Documenten-generator en business rule engin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Doorlooptijd Europese Aanbesteding</a:t>
                      </a:r>
                    </a:p>
                  </a:txBody>
                  <a:tcPr/>
                </a:tc>
                <a:extLst>
                  <a:ext uri="{0D108BD9-81ED-4DB2-BD59-A6C34878D82A}">
                    <a16:rowId xmlns:a16="http://schemas.microsoft.com/office/drawing/2014/main" val="1914566772"/>
                  </a:ext>
                </a:extLst>
              </a:tr>
              <a:tr h="580754">
                <a:tc>
                  <a:txBody>
                    <a:bodyPr/>
                    <a:lstStyle/>
                    <a:p>
                      <a:pPr marL="0" indent="0">
                        <a:buFont typeface="+mj-lt"/>
                        <a:buNone/>
                      </a:pPr>
                      <a:r>
                        <a:rPr lang="nl-NL" sz="1100" err="1"/>
                        <a:t>Quartz</a:t>
                      </a:r>
                      <a:r>
                        <a:rPr lang="nl-NL" sz="1100"/>
                        <a:t> </a:t>
                      </a:r>
                      <a:r>
                        <a:rPr lang="nl-NL" sz="1100" err="1"/>
                        <a:t>Wbtv</a:t>
                      </a:r>
                      <a:endParaRPr lang="nl-NL" sz="1100"/>
                    </a:p>
                  </a:txBody>
                  <a:tcPr/>
                </a:tc>
                <a:tc>
                  <a:txBody>
                    <a:bodyPr/>
                    <a:lstStyle/>
                    <a:p>
                      <a:r>
                        <a:rPr lang="nl-NL" sz="1100"/>
                        <a:t>Realisatie back-end &amp; portaal project</a:t>
                      </a:r>
                    </a:p>
                  </a:txBody>
                  <a:tcPr/>
                </a:tc>
                <a:tc>
                  <a:txBody>
                    <a:bodyPr/>
                    <a:lstStyle/>
                    <a:p>
                      <a:r>
                        <a:rPr lang="nl-NL" sz="1100"/>
                        <a:t>MS Dynamics, Mendix, Berkeley Bridge, Dell Boomi</a:t>
                      </a:r>
                    </a:p>
                  </a:txBody>
                  <a:tcPr/>
                </a:tc>
                <a:tc>
                  <a:txBody>
                    <a:bodyPr/>
                    <a:lstStyle/>
                    <a:p>
                      <a:r>
                        <a:rPr lang="nl-NL" sz="1100"/>
                        <a:t>Samenhang uitkomst EA; overdracht beheerpartij</a:t>
                      </a:r>
                    </a:p>
                  </a:txBody>
                  <a:tcPr/>
                </a:tc>
                <a:extLst>
                  <a:ext uri="{0D108BD9-81ED-4DB2-BD59-A6C34878D82A}">
                    <a16:rowId xmlns:a16="http://schemas.microsoft.com/office/drawing/2014/main" val="3469035604"/>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28" name="Tekstvak 27">
            <a:extLst>
              <a:ext uri="{FF2B5EF4-FFF2-40B4-BE49-F238E27FC236}">
                <a16:creationId xmlns:a16="http://schemas.microsoft.com/office/drawing/2014/main" id="{E0C1EC29-51A9-41C5-A4CD-89F9EA1F60D0}"/>
              </a:ext>
            </a:extLst>
          </p:cNvPr>
          <p:cNvSpPr txBox="1"/>
          <p:nvPr/>
        </p:nvSpPr>
        <p:spPr>
          <a:xfrm>
            <a:off x="502901" y="5061046"/>
            <a:ext cx="11186191" cy="112338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l-NL" sz="1100" b="1" i="0" u="none" strike="noStrike" kern="1200" cap="none" spc="0" normalizeH="0" baseline="0" noProof="0">
                <a:ln>
                  <a:noFill/>
                </a:ln>
                <a:solidFill>
                  <a:srgbClr val="C00000"/>
                </a:solidFill>
                <a:effectLst/>
                <a:uLnTx/>
                <a:uFillTx/>
                <a:latin typeface="Verdana"/>
                <a:ea typeface="+mn-ea"/>
                <a:cs typeface="+mn-cs"/>
              </a:rPr>
              <a:t>Toelichting</a:t>
            </a: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nl-NL" sz="1100" b="0" i="0" u="none" strike="noStrike" kern="1200" cap="none" spc="0" normalizeH="0" baseline="0" noProof="0">
                <a:ln>
                  <a:noFill/>
                </a:ln>
                <a:solidFill>
                  <a:srgbClr val="000000"/>
                </a:solidFill>
                <a:effectLst/>
                <a:uLnTx/>
                <a:uFillTx/>
                <a:latin typeface="Verdana"/>
                <a:ea typeface="+mn-ea"/>
                <a:cs typeface="+mn-cs"/>
              </a:rPr>
              <a:t>Het Tijdelijk besluit digitale toegankelijkheid overheid verplicht de Raad om de toegankelijkheid van websites en mobiele applicaties voor mensen met een beperking te waarborgen. Voor 01-10-2020 moeten de websites van de Raad voldoen aan de eisen die voortkomen uit dit besluit. Daarom starten we in 2020 de aanbesteding voor nieuwbouw van onze websites om te voldoen aan het besluit voor de digitale toegankelijkheid. Verder willen we in 2020 voorkomen dat voor elke vernieuwing aparte en losstaande aanbestedingen komen. Daarom contracteren we vaste leveranciers middels een Europese Aanbesteding. Het project voor de technische modernisering van de applicatie ten behoeve van </a:t>
            </a:r>
            <a:r>
              <a:rPr kumimoji="0" lang="nl-NL" sz="1100" b="0" i="0" u="none" strike="noStrike" kern="1200" cap="none" spc="0" normalizeH="0" baseline="0" noProof="0" err="1">
                <a:ln>
                  <a:noFill/>
                </a:ln>
                <a:solidFill>
                  <a:srgbClr val="000000"/>
                </a:solidFill>
                <a:effectLst/>
                <a:uLnTx/>
                <a:uFillTx/>
                <a:latin typeface="Verdana"/>
                <a:ea typeface="+mn-ea"/>
                <a:cs typeface="+mn-cs"/>
              </a:rPr>
              <a:t>Wbtv</a:t>
            </a:r>
            <a:r>
              <a:rPr kumimoji="0" lang="nl-NL" sz="1100" b="0" i="0" u="none" strike="noStrike" kern="1200" cap="none" spc="0" normalizeH="0" baseline="0" noProof="0">
                <a:ln>
                  <a:noFill/>
                </a:ln>
                <a:solidFill>
                  <a:srgbClr val="000000"/>
                </a:solidFill>
                <a:effectLst/>
                <a:uLnTx/>
                <a:uFillTx/>
                <a:latin typeface="Verdana"/>
                <a:ea typeface="+mn-ea"/>
                <a:cs typeface="+mn-cs"/>
              </a:rPr>
              <a:t> is al ingezet en wordt in 2020 verder afgerond.</a:t>
            </a:r>
          </a:p>
        </p:txBody>
      </p:sp>
      <p:sp>
        <p:nvSpPr>
          <p:cNvPr id="30" name="Ovaal 29">
            <a:extLst>
              <a:ext uri="{FF2B5EF4-FFF2-40B4-BE49-F238E27FC236}">
                <a16:creationId xmlns:a16="http://schemas.microsoft.com/office/drawing/2014/main" id="{5EB1C031-F30F-4B72-8623-CA3B9D8F0552}"/>
              </a:ext>
            </a:extLst>
          </p:cNvPr>
          <p:cNvSpPr/>
          <p:nvPr>
            <p:custDataLst>
              <p:tags r:id="rId4"/>
            </p:custDataLst>
          </p:nvPr>
        </p:nvSpPr>
        <p:spPr bwMode="auto">
          <a:xfrm>
            <a:off x="11431588" y="109538"/>
            <a:ext cx="444500" cy="444500"/>
          </a:xfrm>
          <a:prstGeom prst="ellipse">
            <a:avLst/>
          </a:prstGeom>
          <a:solidFill>
            <a:schemeClr val="bg1"/>
          </a:solidFill>
          <a:ln w="635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33" name="Diagram 32">
            <a:extLst>
              <a:ext uri="{FF2B5EF4-FFF2-40B4-BE49-F238E27FC236}">
                <a16:creationId xmlns:a16="http://schemas.microsoft.com/office/drawing/2014/main" id="{021DAE32-8F38-4198-BE88-1DF5FBC8B7D4}"/>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36427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2"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800" b="1">
              <a:latin typeface="Verdana" panose="020B0604030504040204" pitchFamily="34" charset="0"/>
              <a:sym typeface="Verdana" panose="020B0604030504040204" pitchFamily="34" charset="0"/>
            </a:endParaRPr>
          </a:p>
        </p:txBody>
      </p:sp>
      <p:grpSp>
        <p:nvGrpSpPr>
          <p:cNvPr id="2" name="Groep 1">
            <a:extLst>
              <a:ext uri="{FF2B5EF4-FFF2-40B4-BE49-F238E27FC236}">
                <a16:creationId xmlns:a16="http://schemas.microsoft.com/office/drawing/2014/main" id="{49406E4C-53A6-485F-9710-BB045A8008A7}"/>
              </a:ext>
            </a:extLst>
          </p:cNvPr>
          <p:cNvGrpSpPr/>
          <p:nvPr/>
        </p:nvGrpSpPr>
        <p:grpSpPr>
          <a:xfrm>
            <a:off x="89554" y="1365392"/>
            <a:ext cx="12007713" cy="919736"/>
            <a:chOff x="92143" y="2969132"/>
            <a:chExt cx="12007713" cy="919736"/>
          </a:xfrm>
        </p:grpSpPr>
        <p:grpSp>
          <p:nvGrpSpPr>
            <p:cNvPr id="47" name="Groep 46">
              <a:extLst>
                <a:ext uri="{FF2B5EF4-FFF2-40B4-BE49-F238E27FC236}">
                  <a16:creationId xmlns:a16="http://schemas.microsoft.com/office/drawing/2014/main" id="{EF7DC629-FF58-40D9-8683-7D741A31FABF}"/>
                </a:ext>
              </a:extLst>
            </p:cNvPr>
            <p:cNvGrpSpPr/>
            <p:nvPr/>
          </p:nvGrpSpPr>
          <p:grpSpPr>
            <a:xfrm>
              <a:off x="92143" y="2969132"/>
              <a:ext cx="1936184" cy="919736"/>
              <a:chOff x="2588" y="3374413"/>
              <a:chExt cx="1936184" cy="919736"/>
            </a:xfrm>
          </p:grpSpPr>
          <p:sp>
            <p:nvSpPr>
              <p:cNvPr id="64" name="Pijl: punthaak 63">
                <a:extLst>
                  <a:ext uri="{FF2B5EF4-FFF2-40B4-BE49-F238E27FC236}">
                    <a16:creationId xmlns:a16="http://schemas.microsoft.com/office/drawing/2014/main" id="{18B55F22-333D-4A18-A36D-48A1B09B0D8E}"/>
                  </a:ext>
                </a:extLst>
              </p:cNvPr>
              <p:cNvSpPr/>
              <p:nvPr/>
            </p:nvSpPr>
            <p:spPr>
              <a:xfrm>
                <a:off x="2588" y="33744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5" name="Pijl: punthaak 4">
                <a:extLst>
                  <a:ext uri="{FF2B5EF4-FFF2-40B4-BE49-F238E27FC236}">
                    <a16:creationId xmlns:a16="http://schemas.microsoft.com/office/drawing/2014/main" id="{AC2FECF0-DA1B-4FDA-9B52-B25D490AB955}"/>
                  </a:ext>
                </a:extLst>
              </p:cNvPr>
              <p:cNvSpPr txBox="1"/>
              <p:nvPr/>
            </p:nvSpPr>
            <p:spPr>
              <a:xfrm>
                <a:off x="462456" y="33744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Digitalisering</a:t>
                </a:r>
              </a:p>
            </p:txBody>
          </p:sp>
        </p:grpSp>
        <p:grpSp>
          <p:nvGrpSpPr>
            <p:cNvPr id="49" name="Groep 48">
              <a:extLst>
                <a:ext uri="{FF2B5EF4-FFF2-40B4-BE49-F238E27FC236}">
                  <a16:creationId xmlns:a16="http://schemas.microsoft.com/office/drawing/2014/main" id="{FA338677-A79A-484D-A15B-05958ED52A11}"/>
                </a:ext>
              </a:extLst>
            </p:cNvPr>
            <p:cNvGrpSpPr/>
            <p:nvPr/>
          </p:nvGrpSpPr>
          <p:grpSpPr>
            <a:xfrm>
              <a:off x="1729413" y="2970609"/>
              <a:ext cx="2287835" cy="916783"/>
              <a:chOff x="1639858" y="3375890"/>
              <a:chExt cx="2287835" cy="916783"/>
            </a:xfrm>
          </p:grpSpPr>
          <p:sp>
            <p:nvSpPr>
              <p:cNvPr id="62" name="Pijl: punthaak 61">
                <a:extLst>
                  <a:ext uri="{FF2B5EF4-FFF2-40B4-BE49-F238E27FC236}">
                    <a16:creationId xmlns:a16="http://schemas.microsoft.com/office/drawing/2014/main" id="{038218E9-7997-4996-8317-4339568F15E1}"/>
                  </a:ext>
                </a:extLst>
              </p:cNvPr>
              <p:cNvSpPr/>
              <p:nvPr/>
            </p:nvSpPr>
            <p:spPr>
              <a:xfrm>
                <a:off x="1639858" y="33758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3" name="Pijl: punthaak 6">
                <a:extLst>
                  <a:ext uri="{FF2B5EF4-FFF2-40B4-BE49-F238E27FC236}">
                    <a16:creationId xmlns:a16="http://schemas.microsoft.com/office/drawing/2014/main" id="{38D76F84-706E-41B6-887A-3EC21E39626D}"/>
                  </a:ext>
                </a:extLst>
              </p:cNvPr>
              <p:cNvSpPr txBox="1"/>
              <p:nvPr/>
            </p:nvSpPr>
            <p:spPr>
              <a:xfrm>
                <a:off x="2098250" y="33758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Piketdeclaraties</a:t>
                </a:r>
              </a:p>
            </p:txBody>
          </p:sp>
        </p:grpSp>
        <p:grpSp>
          <p:nvGrpSpPr>
            <p:cNvPr id="50" name="Groep 49">
              <a:extLst>
                <a:ext uri="{FF2B5EF4-FFF2-40B4-BE49-F238E27FC236}">
                  <a16:creationId xmlns:a16="http://schemas.microsoft.com/office/drawing/2014/main" id="{1F380096-5438-4A7D-A691-42F1845CBD6C}"/>
                </a:ext>
              </a:extLst>
            </p:cNvPr>
            <p:cNvGrpSpPr/>
            <p:nvPr/>
          </p:nvGrpSpPr>
          <p:grpSpPr>
            <a:xfrm>
              <a:off x="3750065" y="2970605"/>
              <a:ext cx="2287835" cy="916790"/>
              <a:chOff x="3660510" y="3375886"/>
              <a:chExt cx="2287835" cy="916790"/>
            </a:xfrm>
          </p:grpSpPr>
          <p:sp>
            <p:nvSpPr>
              <p:cNvPr id="60" name="Pijl: punthaak 59">
                <a:extLst>
                  <a:ext uri="{FF2B5EF4-FFF2-40B4-BE49-F238E27FC236}">
                    <a16:creationId xmlns:a16="http://schemas.microsoft.com/office/drawing/2014/main" id="{83FF2124-B00D-4EF3-B629-FF74053CAFA9}"/>
                  </a:ext>
                </a:extLst>
              </p:cNvPr>
              <p:cNvSpPr/>
              <p:nvPr/>
            </p:nvSpPr>
            <p:spPr>
              <a:xfrm>
                <a:off x="3660510"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1" name="Pijl: punthaak 8">
                <a:extLst>
                  <a:ext uri="{FF2B5EF4-FFF2-40B4-BE49-F238E27FC236}">
                    <a16:creationId xmlns:a16="http://schemas.microsoft.com/office/drawing/2014/main" id="{7C12FFE9-0EC6-4D4E-B386-746758B37085}"/>
                  </a:ext>
                </a:extLst>
              </p:cNvPr>
              <p:cNvSpPr txBox="1"/>
              <p:nvPr/>
            </p:nvSpPr>
            <p:spPr>
              <a:xfrm>
                <a:off x="4118905"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None/>
                </a:pPr>
                <a:r>
                  <a:rPr lang="nl-NL" sz="900" kern="1200" err="1"/>
                  <a:t>Mediation</a:t>
                </a:r>
                <a:r>
                  <a:rPr lang="nl-NL" sz="900" kern="1200"/>
                  <a:t> proces</a:t>
                </a:r>
              </a:p>
              <a:p>
                <a:pPr marL="0" lvl="0" indent="0" algn="ctr" defTabSz="400050">
                  <a:lnSpc>
                    <a:spcPct val="90000"/>
                  </a:lnSpc>
                  <a:spcBef>
                    <a:spcPct val="0"/>
                  </a:spcBef>
                  <a:spcAft>
                    <a:spcPts val="600"/>
                  </a:spcAft>
                  <a:buNone/>
                </a:pPr>
                <a:r>
                  <a:rPr lang="nl-NL" sz="900" kern="1200"/>
                  <a:t>Beroep- &amp; bezwaar processen</a:t>
                </a:r>
              </a:p>
              <a:p>
                <a:pPr marL="0" lvl="0" indent="0" algn="ctr" defTabSz="400050">
                  <a:lnSpc>
                    <a:spcPct val="90000"/>
                  </a:lnSpc>
                  <a:spcBef>
                    <a:spcPct val="0"/>
                  </a:spcBef>
                  <a:spcAft>
                    <a:spcPts val="600"/>
                  </a:spcAft>
                  <a:buNone/>
                </a:pPr>
                <a:r>
                  <a:rPr lang="nl-NL" sz="900" kern="1200"/>
                  <a:t>Proces asielaanvragen</a:t>
                </a:r>
              </a:p>
            </p:txBody>
          </p:sp>
        </p:grpSp>
        <p:grpSp>
          <p:nvGrpSpPr>
            <p:cNvPr id="51" name="Groep 50">
              <a:extLst>
                <a:ext uri="{FF2B5EF4-FFF2-40B4-BE49-F238E27FC236}">
                  <a16:creationId xmlns:a16="http://schemas.microsoft.com/office/drawing/2014/main" id="{2DC09A1B-CF09-42BF-AE4A-6F10B4309B0C}"/>
                </a:ext>
              </a:extLst>
            </p:cNvPr>
            <p:cNvGrpSpPr/>
            <p:nvPr/>
          </p:nvGrpSpPr>
          <p:grpSpPr>
            <a:xfrm>
              <a:off x="5770717" y="2970605"/>
              <a:ext cx="2287835" cy="916790"/>
              <a:chOff x="5681162" y="3375886"/>
              <a:chExt cx="2287835" cy="916790"/>
            </a:xfrm>
          </p:grpSpPr>
          <p:sp>
            <p:nvSpPr>
              <p:cNvPr id="58" name="Pijl: punthaak 57">
                <a:extLst>
                  <a:ext uri="{FF2B5EF4-FFF2-40B4-BE49-F238E27FC236}">
                    <a16:creationId xmlns:a16="http://schemas.microsoft.com/office/drawing/2014/main" id="{1C4997CD-84EA-4682-A6C9-4DEEA259AA9C}"/>
                  </a:ext>
                </a:extLst>
              </p:cNvPr>
              <p:cNvSpPr/>
              <p:nvPr/>
            </p:nvSpPr>
            <p:spPr>
              <a:xfrm>
                <a:off x="5681162"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9" name="Pijl: punthaak 10">
                <a:extLst>
                  <a:ext uri="{FF2B5EF4-FFF2-40B4-BE49-F238E27FC236}">
                    <a16:creationId xmlns:a16="http://schemas.microsoft.com/office/drawing/2014/main" id="{777C094C-A887-492B-A7E4-6D7F4B56D5DC}"/>
                  </a:ext>
                </a:extLst>
              </p:cNvPr>
              <p:cNvSpPr txBox="1"/>
              <p:nvPr/>
            </p:nvSpPr>
            <p:spPr>
              <a:xfrm>
                <a:off x="6139557"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Proces extra uren)</a:t>
                </a:r>
              </a:p>
              <a:p>
                <a:pPr algn="ctr" defTabSz="400050">
                  <a:lnSpc>
                    <a:spcPct val="90000"/>
                  </a:lnSpc>
                  <a:spcAft>
                    <a:spcPct val="35000"/>
                  </a:spcAft>
                </a:pPr>
                <a:r>
                  <a:rPr lang="nl-NL" sz="900"/>
                  <a:t>Lasten proces</a:t>
                </a:r>
              </a:p>
            </p:txBody>
          </p:sp>
        </p:grpSp>
        <p:grpSp>
          <p:nvGrpSpPr>
            <p:cNvPr id="52" name="Groep 51">
              <a:extLst>
                <a:ext uri="{FF2B5EF4-FFF2-40B4-BE49-F238E27FC236}">
                  <a16:creationId xmlns:a16="http://schemas.microsoft.com/office/drawing/2014/main" id="{D6632340-56B9-4100-B34F-6B109ADB747A}"/>
                </a:ext>
              </a:extLst>
            </p:cNvPr>
            <p:cNvGrpSpPr/>
            <p:nvPr/>
          </p:nvGrpSpPr>
          <p:grpSpPr>
            <a:xfrm>
              <a:off x="7791369" y="2970605"/>
              <a:ext cx="2287835" cy="916790"/>
              <a:chOff x="7701814" y="3375886"/>
              <a:chExt cx="2287835" cy="916790"/>
            </a:xfrm>
          </p:grpSpPr>
          <p:sp>
            <p:nvSpPr>
              <p:cNvPr id="56" name="Pijl: punthaak 55">
                <a:extLst>
                  <a:ext uri="{FF2B5EF4-FFF2-40B4-BE49-F238E27FC236}">
                    <a16:creationId xmlns:a16="http://schemas.microsoft.com/office/drawing/2014/main" id="{3199FF27-4D60-4AC8-9C11-DDDF6360D238}"/>
                  </a:ext>
                </a:extLst>
              </p:cNvPr>
              <p:cNvSpPr/>
              <p:nvPr/>
            </p:nvSpPr>
            <p:spPr>
              <a:xfrm>
                <a:off x="7701814"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7" name="Pijl: punthaak 12">
                <a:extLst>
                  <a:ext uri="{FF2B5EF4-FFF2-40B4-BE49-F238E27FC236}">
                    <a16:creationId xmlns:a16="http://schemas.microsoft.com/office/drawing/2014/main" id="{B422524F-AF31-4762-9935-4083D03F09F0}"/>
                  </a:ext>
                </a:extLst>
              </p:cNvPr>
              <p:cNvSpPr txBox="1"/>
              <p:nvPr/>
            </p:nvSpPr>
            <p:spPr>
              <a:xfrm>
                <a:off x="8160209"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53" name="Groep 52">
              <a:extLst>
                <a:ext uri="{FF2B5EF4-FFF2-40B4-BE49-F238E27FC236}">
                  <a16:creationId xmlns:a16="http://schemas.microsoft.com/office/drawing/2014/main" id="{49DF0423-C6EA-4842-A20E-89A8ADE93FA9}"/>
                </a:ext>
              </a:extLst>
            </p:cNvPr>
            <p:cNvGrpSpPr/>
            <p:nvPr/>
          </p:nvGrpSpPr>
          <p:grpSpPr>
            <a:xfrm>
              <a:off x="9812021" y="2970605"/>
              <a:ext cx="2287835" cy="916790"/>
              <a:chOff x="9722466" y="3375886"/>
              <a:chExt cx="2287835" cy="916790"/>
            </a:xfrm>
          </p:grpSpPr>
          <p:sp>
            <p:nvSpPr>
              <p:cNvPr id="54" name="Pijl: punthaak 53">
                <a:extLst>
                  <a:ext uri="{FF2B5EF4-FFF2-40B4-BE49-F238E27FC236}">
                    <a16:creationId xmlns:a16="http://schemas.microsoft.com/office/drawing/2014/main" id="{39866116-4C44-43B2-A444-82B055F02BFB}"/>
                  </a:ext>
                </a:extLst>
              </p:cNvPr>
              <p:cNvSpPr/>
              <p:nvPr/>
            </p:nvSpPr>
            <p:spPr>
              <a:xfrm>
                <a:off x="9722466"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5" name="Pijl: punthaak 14">
                <a:extLst>
                  <a:ext uri="{FF2B5EF4-FFF2-40B4-BE49-F238E27FC236}">
                    <a16:creationId xmlns:a16="http://schemas.microsoft.com/office/drawing/2014/main" id="{8B0F7613-2BD7-4C04-AD45-0EE4EA713EB5}"/>
                  </a:ext>
                </a:extLst>
              </p:cNvPr>
              <p:cNvSpPr txBox="1"/>
              <p:nvPr/>
            </p:nvSpPr>
            <p:spPr>
              <a:xfrm>
                <a:off x="10180861"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p:txBody>
          <a:bodyPr/>
          <a:lstStyle/>
          <a:p>
            <a:r>
              <a:rPr lang="nl-NL">
                <a:solidFill>
                  <a:srgbClr val="C00000"/>
                </a:solidFill>
              </a:rPr>
              <a:t>Digitalisering</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857349"/>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mj-lt"/>
                        <a:buNone/>
                      </a:pPr>
                      <a:r>
                        <a:rPr lang="nl-NL" sz="1100"/>
                        <a:t>Piketdeclaraties digitaliseren</a:t>
                      </a:r>
                    </a:p>
                  </a:txBody>
                  <a:tcPr/>
                </a:tc>
                <a:tc>
                  <a:txBody>
                    <a:bodyPr/>
                    <a:lstStyle/>
                    <a:p>
                      <a:r>
                        <a:rPr lang="nl-NL" sz="1100"/>
                        <a:t>Piketdeclaraties in MijnRvR – project</a:t>
                      </a:r>
                    </a:p>
                  </a:txBody>
                  <a:tcPr/>
                </a:tc>
                <a:tc>
                  <a:txBody>
                    <a:bodyPr/>
                    <a:lstStyle/>
                    <a:p>
                      <a:r>
                        <a:rPr lang="nl-NL" sz="1100"/>
                        <a:t>Change in GRAS/FileNet en MijnRvR</a:t>
                      </a:r>
                    </a:p>
                  </a:txBody>
                  <a:tcPr/>
                </a:tc>
                <a:tc>
                  <a:txBody>
                    <a:bodyPr/>
                    <a:lstStyle/>
                    <a:p>
                      <a:r>
                        <a:rPr lang="nl-NL" sz="1100"/>
                        <a:t>Technische samenhang met andere ontwikkelingen</a:t>
                      </a:r>
                    </a:p>
                  </a:txBody>
                  <a:tcPr/>
                </a:tc>
                <a:extLst>
                  <a:ext uri="{0D108BD9-81ED-4DB2-BD59-A6C34878D82A}">
                    <a16:rowId xmlns:a16="http://schemas.microsoft.com/office/drawing/2014/main" val="2315363676"/>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28" name="Tekstvak 27">
            <a:extLst>
              <a:ext uri="{FF2B5EF4-FFF2-40B4-BE49-F238E27FC236}">
                <a16:creationId xmlns:a16="http://schemas.microsoft.com/office/drawing/2014/main" id="{B3F9971D-7755-485F-8007-69B779607F65}"/>
              </a:ext>
            </a:extLst>
          </p:cNvPr>
          <p:cNvSpPr txBox="1"/>
          <p:nvPr/>
        </p:nvSpPr>
        <p:spPr>
          <a:xfrm>
            <a:off x="502901" y="4339686"/>
            <a:ext cx="11186191" cy="600164"/>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kern="1200">
                <a:solidFill>
                  <a:schemeClr val="dk1"/>
                </a:solidFill>
                <a:latin typeface="+mn-lt"/>
                <a:ea typeface="+mn-ea"/>
                <a:cs typeface="+mn-cs"/>
              </a:rPr>
              <a:t>Het proces voor piketdeclaratie vindt gedeeltelijk nog analoog plaats, maar gaan we in 2020 digitaliseren en automatiseren door middel van de realisatie van dit proces in het bestaande </a:t>
            </a:r>
            <a:r>
              <a:rPr lang="nl-NL" sz="1100" kern="1200" err="1">
                <a:solidFill>
                  <a:schemeClr val="dk1"/>
                </a:solidFill>
                <a:latin typeface="+mn-lt"/>
                <a:ea typeface="+mn-ea"/>
                <a:cs typeface="+mn-cs"/>
              </a:rPr>
              <a:t>MijnRvR</a:t>
            </a:r>
            <a:r>
              <a:rPr lang="nl-NL" sz="1100" kern="1200">
                <a:solidFill>
                  <a:schemeClr val="dk1"/>
                </a:solidFill>
                <a:latin typeface="+mn-lt"/>
                <a:ea typeface="+mn-ea"/>
                <a:cs typeface="+mn-cs"/>
              </a:rPr>
              <a:t>. In de toekomst zal dit naar de doelarchitectuur van het nog nieuw te bouwen burgerportaal worden gebracht.</a:t>
            </a:r>
          </a:p>
        </p:txBody>
      </p:sp>
      <p:graphicFrame>
        <p:nvGraphicFramePr>
          <p:cNvPr id="29" name="Diagram 28">
            <a:extLst>
              <a:ext uri="{FF2B5EF4-FFF2-40B4-BE49-F238E27FC236}">
                <a16:creationId xmlns:a16="http://schemas.microsoft.com/office/drawing/2014/main" id="{A0ACE5C6-CB40-4C36-9D7A-1292A8D88E40}"/>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0" name="Ovaal 29">
            <a:extLst>
              <a:ext uri="{FF2B5EF4-FFF2-40B4-BE49-F238E27FC236}">
                <a16:creationId xmlns:a16="http://schemas.microsoft.com/office/drawing/2014/main" id="{03D4E9AD-C662-4DF2-9B08-6FF800B618B9}"/>
              </a:ext>
            </a:extLst>
          </p:cNvPr>
          <p:cNvSpPr/>
          <p:nvPr>
            <p:custDataLst>
              <p:tags r:id="rId4"/>
            </p:custDataLst>
          </p:nvPr>
        </p:nvSpPr>
        <p:spPr bwMode="auto">
          <a:xfrm>
            <a:off x="11431588" y="109538"/>
            <a:ext cx="444500" cy="444500"/>
          </a:xfrm>
          <a:prstGeom prst="ellipse">
            <a:avLst/>
          </a:prstGeom>
          <a:solidFill>
            <a:schemeClr val="bg1"/>
          </a:solidFill>
          <a:ln w="635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697568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6"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800" b="1">
              <a:latin typeface="Verdana" panose="020B0604030504040204" pitchFamily="34" charset="0"/>
              <a:sym typeface="Verdana" panose="020B0604030504040204" pitchFamily="34" charset="0"/>
            </a:endParaRPr>
          </a:p>
        </p:txBody>
      </p:sp>
      <p:grpSp>
        <p:nvGrpSpPr>
          <p:cNvPr id="2" name="Groep 1">
            <a:extLst>
              <a:ext uri="{FF2B5EF4-FFF2-40B4-BE49-F238E27FC236}">
                <a16:creationId xmlns:a16="http://schemas.microsoft.com/office/drawing/2014/main" id="{E9E61B51-D111-4F6C-B658-FAED4004EBD0}"/>
              </a:ext>
            </a:extLst>
          </p:cNvPr>
          <p:cNvGrpSpPr/>
          <p:nvPr/>
        </p:nvGrpSpPr>
        <p:grpSpPr>
          <a:xfrm>
            <a:off x="89553" y="1357228"/>
            <a:ext cx="12007713" cy="919736"/>
            <a:chOff x="92143" y="2969132"/>
            <a:chExt cx="12007713" cy="919736"/>
          </a:xfrm>
        </p:grpSpPr>
        <p:grpSp>
          <p:nvGrpSpPr>
            <p:cNvPr id="47" name="Groep 46">
              <a:extLst>
                <a:ext uri="{FF2B5EF4-FFF2-40B4-BE49-F238E27FC236}">
                  <a16:creationId xmlns:a16="http://schemas.microsoft.com/office/drawing/2014/main" id="{3083C59C-812B-4643-BB71-6FA9B8088B2A}"/>
                </a:ext>
              </a:extLst>
            </p:cNvPr>
            <p:cNvGrpSpPr/>
            <p:nvPr/>
          </p:nvGrpSpPr>
          <p:grpSpPr>
            <a:xfrm>
              <a:off x="92143" y="2969132"/>
              <a:ext cx="1936184" cy="919736"/>
              <a:chOff x="2588" y="4422913"/>
              <a:chExt cx="1936184" cy="919736"/>
            </a:xfrm>
          </p:grpSpPr>
          <p:sp>
            <p:nvSpPr>
              <p:cNvPr id="64" name="Pijl: punthaak 63">
                <a:extLst>
                  <a:ext uri="{FF2B5EF4-FFF2-40B4-BE49-F238E27FC236}">
                    <a16:creationId xmlns:a16="http://schemas.microsoft.com/office/drawing/2014/main" id="{F983C7DC-F316-48CF-980C-A72DF3376C71}"/>
                  </a:ext>
                </a:extLst>
              </p:cNvPr>
              <p:cNvSpPr/>
              <p:nvPr/>
            </p:nvSpPr>
            <p:spPr>
              <a:xfrm>
                <a:off x="2588" y="44229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5" name="Pijl: punthaak 4">
                <a:extLst>
                  <a:ext uri="{FF2B5EF4-FFF2-40B4-BE49-F238E27FC236}">
                    <a16:creationId xmlns:a16="http://schemas.microsoft.com/office/drawing/2014/main" id="{EDD437C3-556A-4D39-9293-4B10CCA29064}"/>
                  </a:ext>
                </a:extLst>
              </p:cNvPr>
              <p:cNvSpPr txBox="1"/>
              <p:nvPr/>
            </p:nvSpPr>
            <p:spPr>
              <a:xfrm>
                <a:off x="462456" y="44229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Organisatie</a:t>
                </a:r>
              </a:p>
            </p:txBody>
          </p:sp>
        </p:grpSp>
        <p:grpSp>
          <p:nvGrpSpPr>
            <p:cNvPr id="49" name="Groep 48">
              <a:extLst>
                <a:ext uri="{FF2B5EF4-FFF2-40B4-BE49-F238E27FC236}">
                  <a16:creationId xmlns:a16="http://schemas.microsoft.com/office/drawing/2014/main" id="{C8876224-7334-4572-89E8-0FEF20A763D8}"/>
                </a:ext>
              </a:extLst>
            </p:cNvPr>
            <p:cNvGrpSpPr/>
            <p:nvPr/>
          </p:nvGrpSpPr>
          <p:grpSpPr>
            <a:xfrm>
              <a:off x="1729413" y="2970609"/>
              <a:ext cx="2287835" cy="916783"/>
              <a:chOff x="1639858" y="4424390"/>
              <a:chExt cx="2287835" cy="916783"/>
            </a:xfrm>
          </p:grpSpPr>
          <p:sp>
            <p:nvSpPr>
              <p:cNvPr id="62" name="Pijl: punthaak 61">
                <a:extLst>
                  <a:ext uri="{FF2B5EF4-FFF2-40B4-BE49-F238E27FC236}">
                    <a16:creationId xmlns:a16="http://schemas.microsoft.com/office/drawing/2014/main" id="{2DD2571B-494D-478E-9588-243579797C7E}"/>
                  </a:ext>
                </a:extLst>
              </p:cNvPr>
              <p:cNvSpPr/>
              <p:nvPr/>
            </p:nvSpPr>
            <p:spPr>
              <a:xfrm>
                <a:off x="1639858" y="44243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3" name="Pijl: punthaak 6">
                <a:extLst>
                  <a:ext uri="{FF2B5EF4-FFF2-40B4-BE49-F238E27FC236}">
                    <a16:creationId xmlns:a16="http://schemas.microsoft.com/office/drawing/2014/main" id="{CE16269E-F67E-4F77-AD8F-B0B4A7BE25BE}"/>
                  </a:ext>
                </a:extLst>
              </p:cNvPr>
              <p:cNvSpPr txBox="1"/>
              <p:nvPr/>
            </p:nvSpPr>
            <p:spPr>
              <a:xfrm>
                <a:off x="1825290" y="4424390"/>
                <a:ext cx="1800000"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0" indent="0" algn="ctr" defTabSz="400050">
                  <a:lnSpc>
                    <a:spcPct val="90000"/>
                  </a:lnSpc>
                  <a:spcBef>
                    <a:spcPct val="0"/>
                  </a:spcBef>
                  <a:spcAft>
                    <a:spcPts val="400"/>
                  </a:spcAft>
                  <a:buNone/>
                </a:pPr>
                <a:r>
                  <a:rPr lang="nl-NL" sz="900" kern="1200"/>
                  <a:t>Inrichting (ICT) Portfoliomanagement</a:t>
                </a:r>
              </a:p>
              <a:p>
                <a:pPr marL="0" lvl="0" indent="0" algn="ctr" defTabSz="400050">
                  <a:lnSpc>
                    <a:spcPct val="90000"/>
                  </a:lnSpc>
                  <a:spcBef>
                    <a:spcPct val="0"/>
                  </a:spcBef>
                  <a:spcAft>
                    <a:spcPts val="400"/>
                  </a:spcAft>
                  <a:buNone/>
                </a:pPr>
                <a:r>
                  <a:rPr lang="nl-NL" sz="900" kern="1200"/>
                  <a:t>Inrichting CIO Office</a:t>
                </a:r>
              </a:p>
              <a:p>
                <a:pPr marL="0" lvl="0" indent="0" algn="ctr" defTabSz="400050">
                  <a:lnSpc>
                    <a:spcPct val="90000"/>
                  </a:lnSpc>
                  <a:spcBef>
                    <a:spcPct val="0"/>
                  </a:spcBef>
                  <a:spcAft>
                    <a:spcPts val="400"/>
                  </a:spcAft>
                  <a:buNone/>
                </a:pPr>
                <a:r>
                  <a:rPr lang="nl-NL" sz="900" kern="1200"/>
                  <a:t>Professionalisering IM-organisatie</a:t>
                </a:r>
              </a:p>
              <a:p>
                <a:pPr marL="0" lvl="0" indent="0" algn="ctr" defTabSz="400050">
                  <a:lnSpc>
                    <a:spcPct val="90000"/>
                  </a:lnSpc>
                  <a:spcBef>
                    <a:spcPct val="0"/>
                  </a:spcBef>
                  <a:spcAft>
                    <a:spcPts val="400"/>
                  </a:spcAft>
                  <a:buNone/>
                </a:pPr>
                <a:r>
                  <a:rPr lang="nl-NL" sz="900"/>
                  <a:t>Ontwikkeling en beheer samenbrengen</a:t>
                </a:r>
                <a:endParaRPr lang="nl-NL" sz="900" kern="1200"/>
              </a:p>
            </p:txBody>
          </p:sp>
        </p:grpSp>
        <p:grpSp>
          <p:nvGrpSpPr>
            <p:cNvPr id="50" name="Groep 49">
              <a:extLst>
                <a:ext uri="{FF2B5EF4-FFF2-40B4-BE49-F238E27FC236}">
                  <a16:creationId xmlns:a16="http://schemas.microsoft.com/office/drawing/2014/main" id="{A08ADDDB-3074-4EC2-9E4C-F427CB084B16}"/>
                </a:ext>
              </a:extLst>
            </p:cNvPr>
            <p:cNvGrpSpPr/>
            <p:nvPr/>
          </p:nvGrpSpPr>
          <p:grpSpPr>
            <a:xfrm>
              <a:off x="3750065" y="2970605"/>
              <a:ext cx="2287835" cy="916790"/>
              <a:chOff x="3660510" y="4424386"/>
              <a:chExt cx="2287835" cy="916790"/>
            </a:xfrm>
          </p:grpSpPr>
          <p:sp>
            <p:nvSpPr>
              <p:cNvPr id="60" name="Pijl: punthaak 59">
                <a:extLst>
                  <a:ext uri="{FF2B5EF4-FFF2-40B4-BE49-F238E27FC236}">
                    <a16:creationId xmlns:a16="http://schemas.microsoft.com/office/drawing/2014/main" id="{02E3C5B3-0FB1-416C-B5EA-2A22E0719885}"/>
                  </a:ext>
                </a:extLst>
              </p:cNvPr>
              <p:cNvSpPr/>
              <p:nvPr/>
            </p:nvSpPr>
            <p:spPr>
              <a:xfrm>
                <a:off x="3660510"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1" name="Pijl: punthaak 8">
                <a:extLst>
                  <a:ext uri="{FF2B5EF4-FFF2-40B4-BE49-F238E27FC236}">
                    <a16:creationId xmlns:a16="http://schemas.microsoft.com/office/drawing/2014/main" id="{709D343F-7A83-4C18-9693-A71AF7422B68}"/>
                  </a:ext>
                </a:extLst>
              </p:cNvPr>
              <p:cNvSpPr txBox="1"/>
              <p:nvPr/>
            </p:nvSpPr>
            <p:spPr>
              <a:xfrm>
                <a:off x="4118904" y="4424386"/>
                <a:ext cx="1404000"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 rIns="0" bIns="5715" numCol="1" spcCol="1270" anchor="ctr" anchorCtr="0">
                <a:noAutofit/>
              </a:bodyPr>
              <a:lstStyle/>
              <a:p>
                <a:pPr marL="0" lvl="0" indent="0" algn="ctr" defTabSz="400050">
                  <a:lnSpc>
                    <a:spcPct val="90000"/>
                  </a:lnSpc>
                  <a:spcBef>
                    <a:spcPct val="0"/>
                  </a:spcBef>
                  <a:spcAft>
                    <a:spcPts val="400"/>
                  </a:spcAft>
                  <a:buNone/>
                </a:pPr>
                <a:r>
                  <a:rPr lang="nl-NL" sz="900" kern="1200"/>
                  <a:t>Inrichting Leveranciers- &amp; contractmanagement</a:t>
                </a:r>
              </a:p>
              <a:p>
                <a:pPr marL="0" lvl="0" indent="0" algn="ctr" defTabSz="400050">
                  <a:lnSpc>
                    <a:spcPct val="90000"/>
                  </a:lnSpc>
                  <a:spcBef>
                    <a:spcPct val="0"/>
                  </a:spcBef>
                  <a:spcAft>
                    <a:spcPts val="400"/>
                  </a:spcAft>
                  <a:buNone/>
                </a:pPr>
                <a:r>
                  <a:rPr lang="nl-NL" sz="900" kern="1200"/>
                  <a:t>Functieprofielen IM</a:t>
                </a:r>
              </a:p>
              <a:p>
                <a:pPr marL="0" lvl="0" indent="0" algn="ctr" defTabSz="400050">
                  <a:lnSpc>
                    <a:spcPct val="90000"/>
                  </a:lnSpc>
                  <a:spcBef>
                    <a:spcPct val="0"/>
                  </a:spcBef>
                  <a:spcAft>
                    <a:spcPts val="400"/>
                  </a:spcAft>
                  <a:buNone/>
                </a:pPr>
                <a:r>
                  <a:rPr lang="nl-NL" sz="900" kern="1200"/>
                  <a:t>Professionalisering ICT inkoop</a:t>
                </a:r>
              </a:p>
              <a:p>
                <a:pPr marL="0" lvl="0" indent="0" algn="ctr" defTabSz="400050">
                  <a:lnSpc>
                    <a:spcPct val="90000"/>
                  </a:lnSpc>
                  <a:spcBef>
                    <a:spcPct val="0"/>
                  </a:spcBef>
                  <a:spcAft>
                    <a:spcPts val="400"/>
                  </a:spcAft>
                  <a:buNone/>
                </a:pPr>
                <a:r>
                  <a:rPr lang="nl-NL" sz="900" kern="1200"/>
                  <a:t>Data </a:t>
                </a:r>
                <a:r>
                  <a:rPr lang="nl-NL" sz="900" kern="1200" err="1"/>
                  <a:t>Governance</a:t>
                </a:r>
                <a:endParaRPr lang="nl-NL" sz="900" kern="1200"/>
              </a:p>
            </p:txBody>
          </p:sp>
        </p:grpSp>
        <p:grpSp>
          <p:nvGrpSpPr>
            <p:cNvPr id="51" name="Groep 50">
              <a:extLst>
                <a:ext uri="{FF2B5EF4-FFF2-40B4-BE49-F238E27FC236}">
                  <a16:creationId xmlns:a16="http://schemas.microsoft.com/office/drawing/2014/main" id="{6742C816-0CCB-474C-9ECB-BFF62005129C}"/>
                </a:ext>
              </a:extLst>
            </p:cNvPr>
            <p:cNvGrpSpPr/>
            <p:nvPr/>
          </p:nvGrpSpPr>
          <p:grpSpPr>
            <a:xfrm>
              <a:off x="5770717" y="2970605"/>
              <a:ext cx="2287835" cy="916790"/>
              <a:chOff x="5681162" y="4424386"/>
              <a:chExt cx="2287835" cy="916790"/>
            </a:xfrm>
          </p:grpSpPr>
          <p:sp>
            <p:nvSpPr>
              <p:cNvPr id="58" name="Pijl: punthaak 57">
                <a:extLst>
                  <a:ext uri="{FF2B5EF4-FFF2-40B4-BE49-F238E27FC236}">
                    <a16:creationId xmlns:a16="http://schemas.microsoft.com/office/drawing/2014/main" id="{3D1C8CFE-7C77-42A8-B4DF-1A0CF2EE98B9}"/>
                  </a:ext>
                </a:extLst>
              </p:cNvPr>
              <p:cNvSpPr/>
              <p:nvPr/>
            </p:nvSpPr>
            <p:spPr>
              <a:xfrm>
                <a:off x="5681162"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9" name="Pijl: punthaak 10">
                <a:extLst>
                  <a:ext uri="{FF2B5EF4-FFF2-40B4-BE49-F238E27FC236}">
                    <a16:creationId xmlns:a16="http://schemas.microsoft.com/office/drawing/2014/main" id="{A963DAC2-7C43-41C5-8E0E-0274DA5412B0}"/>
                  </a:ext>
                </a:extLst>
              </p:cNvPr>
              <p:cNvSpPr txBox="1"/>
              <p:nvPr/>
            </p:nvSpPr>
            <p:spPr>
              <a:xfrm>
                <a:off x="6139557"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52" name="Groep 51">
              <a:extLst>
                <a:ext uri="{FF2B5EF4-FFF2-40B4-BE49-F238E27FC236}">
                  <a16:creationId xmlns:a16="http://schemas.microsoft.com/office/drawing/2014/main" id="{00BCC118-4A4A-4C57-BD33-B0268422184C}"/>
                </a:ext>
              </a:extLst>
            </p:cNvPr>
            <p:cNvGrpSpPr/>
            <p:nvPr/>
          </p:nvGrpSpPr>
          <p:grpSpPr>
            <a:xfrm>
              <a:off x="7791369" y="2970605"/>
              <a:ext cx="2287835" cy="916790"/>
              <a:chOff x="7701814" y="4424386"/>
              <a:chExt cx="2287835" cy="916790"/>
            </a:xfrm>
          </p:grpSpPr>
          <p:sp>
            <p:nvSpPr>
              <p:cNvPr id="56" name="Pijl: punthaak 55">
                <a:extLst>
                  <a:ext uri="{FF2B5EF4-FFF2-40B4-BE49-F238E27FC236}">
                    <a16:creationId xmlns:a16="http://schemas.microsoft.com/office/drawing/2014/main" id="{DC05A3D2-4C9C-4613-8710-1DEB511D0262}"/>
                  </a:ext>
                </a:extLst>
              </p:cNvPr>
              <p:cNvSpPr/>
              <p:nvPr/>
            </p:nvSpPr>
            <p:spPr>
              <a:xfrm>
                <a:off x="7701814"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7" name="Pijl: punthaak 12">
                <a:extLst>
                  <a:ext uri="{FF2B5EF4-FFF2-40B4-BE49-F238E27FC236}">
                    <a16:creationId xmlns:a16="http://schemas.microsoft.com/office/drawing/2014/main" id="{58DAE43C-F213-450D-8084-1F48524CC493}"/>
                  </a:ext>
                </a:extLst>
              </p:cNvPr>
              <p:cNvSpPr txBox="1"/>
              <p:nvPr/>
            </p:nvSpPr>
            <p:spPr>
              <a:xfrm>
                <a:off x="8160209"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53" name="Groep 52">
              <a:extLst>
                <a:ext uri="{FF2B5EF4-FFF2-40B4-BE49-F238E27FC236}">
                  <a16:creationId xmlns:a16="http://schemas.microsoft.com/office/drawing/2014/main" id="{D6F88752-9929-433A-8ADE-9673E8C3F341}"/>
                </a:ext>
              </a:extLst>
            </p:cNvPr>
            <p:cNvGrpSpPr/>
            <p:nvPr/>
          </p:nvGrpSpPr>
          <p:grpSpPr>
            <a:xfrm>
              <a:off x="9812021" y="2970605"/>
              <a:ext cx="2287835" cy="916790"/>
              <a:chOff x="9722466" y="4424386"/>
              <a:chExt cx="2287835" cy="916790"/>
            </a:xfrm>
          </p:grpSpPr>
          <p:sp>
            <p:nvSpPr>
              <p:cNvPr id="54" name="Pijl: punthaak 53">
                <a:extLst>
                  <a:ext uri="{FF2B5EF4-FFF2-40B4-BE49-F238E27FC236}">
                    <a16:creationId xmlns:a16="http://schemas.microsoft.com/office/drawing/2014/main" id="{278EF212-DA81-405E-8FD5-AC7519FAB334}"/>
                  </a:ext>
                </a:extLst>
              </p:cNvPr>
              <p:cNvSpPr/>
              <p:nvPr/>
            </p:nvSpPr>
            <p:spPr>
              <a:xfrm>
                <a:off x="9722466"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5" name="Pijl: punthaak 14">
                <a:extLst>
                  <a:ext uri="{FF2B5EF4-FFF2-40B4-BE49-F238E27FC236}">
                    <a16:creationId xmlns:a16="http://schemas.microsoft.com/office/drawing/2014/main" id="{2AECC05E-40AA-458D-B8E0-72D1426127AE}"/>
                  </a:ext>
                </a:extLst>
              </p:cNvPr>
              <p:cNvSpPr txBox="1"/>
              <p:nvPr/>
            </p:nvSpPr>
            <p:spPr>
              <a:xfrm>
                <a:off x="10180861"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p:txBody>
          <a:bodyPr/>
          <a:lstStyle/>
          <a:p>
            <a:r>
              <a:rPr lang="nl-NL">
                <a:solidFill>
                  <a:srgbClr val="C00000"/>
                </a:solidFill>
              </a:rPr>
              <a:t>Organisatie</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2123832"/>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0">
                <a:tc>
                  <a:txBody>
                    <a:bodyPr/>
                    <a:lstStyle/>
                    <a:p>
                      <a:pPr marL="0" indent="0">
                        <a:buFont typeface="+mj-lt"/>
                        <a:buNone/>
                      </a:pPr>
                      <a:r>
                        <a:rPr lang="nl-NL" sz="1100"/>
                        <a:t>(ICT) portfoliomanagement inrichten</a:t>
                      </a:r>
                    </a:p>
                  </a:txBody>
                  <a:tcPr/>
                </a:tc>
                <a:tc>
                  <a:txBody>
                    <a:bodyPr/>
                    <a:lstStyle/>
                    <a:p>
                      <a:r>
                        <a:rPr lang="nl-NL" sz="1100"/>
                        <a:t>Nieuwe structuur voor besluitvorming implementeren</a:t>
                      </a:r>
                    </a:p>
                  </a:txBody>
                  <a:tcPr/>
                </a:tc>
                <a:tc>
                  <a:txBody>
                    <a:bodyPr/>
                    <a:lstStyle/>
                    <a:p>
                      <a:r>
                        <a:rPr lang="nl-NL" sz="1100"/>
                        <a:t>N.v.t.</a:t>
                      </a:r>
                    </a:p>
                  </a:txBody>
                  <a:tcPr/>
                </a:tc>
                <a:tc>
                  <a:txBody>
                    <a:bodyPr/>
                    <a:lstStyle/>
                    <a:p>
                      <a:r>
                        <a:rPr lang="nl-NL" sz="1100"/>
                        <a:t>Werving portfoliomanager</a:t>
                      </a:r>
                    </a:p>
                    <a:p>
                      <a:r>
                        <a:rPr lang="nl-NL" sz="1100"/>
                        <a:t>Administratieve capaciteit</a:t>
                      </a:r>
                    </a:p>
                  </a:txBody>
                  <a:tcPr/>
                </a:tc>
                <a:extLst>
                  <a:ext uri="{0D108BD9-81ED-4DB2-BD59-A6C34878D82A}">
                    <a16:rowId xmlns:a16="http://schemas.microsoft.com/office/drawing/2014/main" val="2315363676"/>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t>Inrichting CIO Office</a:t>
                      </a:r>
                    </a:p>
                  </a:txBody>
                  <a:tcPr/>
                </a:tc>
                <a:tc>
                  <a:txBody>
                    <a:bodyPr/>
                    <a:lstStyle/>
                    <a:p>
                      <a:r>
                        <a:rPr lang="nl-NL" sz="1100"/>
                        <a:t>Reorganisatie Raad</a:t>
                      </a:r>
                    </a:p>
                  </a:txBody>
                  <a:tcPr/>
                </a:tc>
                <a:tc>
                  <a:txBody>
                    <a:bodyPr/>
                    <a:lstStyle/>
                    <a:p>
                      <a:r>
                        <a:rPr lang="nl-NL" sz="1100"/>
                        <a:t>N.v.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Resourcing teamleden</a:t>
                      </a:r>
                    </a:p>
                  </a:txBody>
                  <a:tcPr/>
                </a:tc>
                <a:extLst>
                  <a:ext uri="{0D108BD9-81ED-4DB2-BD59-A6C34878D82A}">
                    <a16:rowId xmlns:a16="http://schemas.microsoft.com/office/drawing/2014/main" val="1914566772"/>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t>Professionaliseren IM-organisatie</a:t>
                      </a:r>
                    </a:p>
                  </a:txBody>
                  <a:tcPr/>
                </a:tc>
                <a:tc>
                  <a:txBody>
                    <a:bodyPr/>
                    <a:lstStyle/>
                    <a:p>
                      <a:r>
                        <a:rPr lang="nl-NL" sz="1100">
                          <a:sym typeface="Wingdings" panose="05000000000000000000" pitchFamily="2" charset="2"/>
                        </a:rPr>
                        <a:t>OGSM IM 2020 en Toekomstplan IM</a:t>
                      </a:r>
                      <a:endParaRPr lang="nl-NL" sz="1100"/>
                    </a:p>
                  </a:txBody>
                  <a:tcPr/>
                </a:tc>
                <a:tc>
                  <a:txBody>
                    <a:bodyPr/>
                    <a:lstStyle/>
                    <a:p>
                      <a:r>
                        <a:rPr lang="nl-NL" sz="1100"/>
                        <a:t>N.v.t.</a:t>
                      </a:r>
                    </a:p>
                  </a:txBody>
                  <a:tcPr/>
                </a:tc>
                <a:tc>
                  <a:txBody>
                    <a:bodyPr/>
                    <a:lstStyle/>
                    <a:p>
                      <a:r>
                        <a:rPr lang="nl-NL" sz="1100"/>
                        <a:t>Continuïteit van verandercapaciteit</a:t>
                      </a:r>
                    </a:p>
                  </a:txBody>
                  <a:tcPr/>
                </a:tc>
                <a:extLst>
                  <a:ext uri="{0D108BD9-81ED-4DB2-BD59-A6C34878D82A}">
                    <a16:rowId xmlns:a16="http://schemas.microsoft.com/office/drawing/2014/main" val="1949697777"/>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t>Ontwikkeling en -beheer samenbreng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Rapid Application Development met scrum, agile en continuous delivery</a:t>
                      </a:r>
                    </a:p>
                  </a:txBody>
                  <a:tcPr/>
                </a:tc>
                <a:tc>
                  <a:txBody>
                    <a:bodyPr/>
                    <a:lstStyle/>
                    <a:p>
                      <a:r>
                        <a:rPr lang="nl-NL" sz="1100"/>
                        <a:t>N.v.t.</a:t>
                      </a:r>
                    </a:p>
                  </a:txBody>
                  <a:tcPr/>
                </a:tc>
                <a:tc>
                  <a:txBody>
                    <a:bodyPr/>
                    <a:lstStyle/>
                    <a:p>
                      <a:endParaRPr lang="nl-NL" sz="1100"/>
                    </a:p>
                  </a:txBody>
                  <a:tcPr/>
                </a:tc>
                <a:extLst>
                  <a:ext uri="{0D108BD9-81ED-4DB2-BD59-A6C34878D82A}">
                    <a16:rowId xmlns:a16="http://schemas.microsoft.com/office/drawing/2014/main" val="1497894798"/>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28" name="Tekstvak 27">
            <a:extLst>
              <a:ext uri="{FF2B5EF4-FFF2-40B4-BE49-F238E27FC236}">
                <a16:creationId xmlns:a16="http://schemas.microsoft.com/office/drawing/2014/main" id="{A259C71E-EF47-4FAE-8D33-87D75328DB79}"/>
              </a:ext>
            </a:extLst>
          </p:cNvPr>
          <p:cNvSpPr txBox="1"/>
          <p:nvPr/>
        </p:nvSpPr>
        <p:spPr>
          <a:xfrm>
            <a:off x="502901" y="5071206"/>
            <a:ext cx="11186191" cy="1107996"/>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kern="1200">
                <a:solidFill>
                  <a:schemeClr val="dk1"/>
                </a:solidFill>
                <a:latin typeface="+mn-lt"/>
                <a:ea typeface="+mn-ea"/>
                <a:cs typeface="+mn-cs"/>
              </a:rPr>
              <a:t>Tegelijk met vernieuwing vindt er een professionalisering plaats van ondersteunende functies in technische en functionele infrastructuur. Ondertussen vraagt de grote hoeveelheid werk in ontwikkeling en beheer van ICT om een goede en zorgvuldige planning van ICT portfoliomanagement. Daarom wordt ICT portfoliomanagement vanaf 2020 gehanteerd en vindt het aansluiting bij het </a:t>
            </a:r>
            <a:r>
              <a:rPr lang="nl-NL" sz="1100" kern="1200" err="1">
                <a:solidFill>
                  <a:schemeClr val="dk1"/>
                </a:solidFill>
                <a:latin typeface="+mn-lt"/>
                <a:ea typeface="+mn-ea"/>
                <a:cs typeface="+mn-cs"/>
              </a:rPr>
              <a:t>Raadsbrede</a:t>
            </a:r>
            <a:r>
              <a:rPr lang="nl-NL" sz="1100" kern="1200">
                <a:solidFill>
                  <a:schemeClr val="dk1"/>
                </a:solidFill>
                <a:latin typeface="+mn-lt"/>
                <a:ea typeface="+mn-ea"/>
                <a:cs typeface="+mn-cs"/>
              </a:rPr>
              <a:t> strategisch portfoliomanagement. Hiervoor is onder meer een plan nodig voor de besluitvormingsstructuur en een portfoliomanager. Verder is de inrichting van de CIO Office beschreven in het reorganisatieplan van de Raad en is meer informatie over de professionalisering van de IM-organisatie terug te vinden in de OGSM 2020 en het Toekomstbeeld van IM.</a:t>
            </a:r>
          </a:p>
        </p:txBody>
      </p:sp>
      <p:graphicFrame>
        <p:nvGraphicFramePr>
          <p:cNvPr id="32" name="Diagram 31">
            <a:extLst>
              <a:ext uri="{FF2B5EF4-FFF2-40B4-BE49-F238E27FC236}">
                <a16:creationId xmlns:a16="http://schemas.microsoft.com/office/drawing/2014/main" id="{6A91D214-65BC-425E-8420-04CC5A8DC963}"/>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53891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2C6F83-C5C0-4A1A-923C-F9DD8D6E9F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2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A2C6F83-C5C0-4A1A-923C-F9DD8D6E9F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E280407-1137-40DB-A116-33306B3CBF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100" b="1"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3" name="Titel 2">
            <a:extLst>
              <a:ext uri="{FF2B5EF4-FFF2-40B4-BE49-F238E27FC236}">
                <a16:creationId xmlns:a16="http://schemas.microsoft.com/office/drawing/2014/main" id="{63F76B54-6260-4B9C-97FA-A08565EBCC5F}"/>
              </a:ext>
            </a:extLst>
          </p:cNvPr>
          <p:cNvSpPr>
            <a:spLocks noGrp="1"/>
          </p:cNvSpPr>
          <p:nvPr>
            <p:ph type="title"/>
          </p:nvPr>
        </p:nvSpPr>
        <p:spPr/>
        <p:txBody>
          <a:bodyPr/>
          <a:lstStyle/>
          <a:p>
            <a:r>
              <a:rPr lang="nl-NL">
                <a:solidFill>
                  <a:srgbClr val="C00000"/>
                </a:solidFill>
              </a:rPr>
              <a:t>Vijfjarenplan | Vernieuwing</a:t>
            </a:r>
            <a:br>
              <a:rPr lang="nl-NL">
                <a:solidFill>
                  <a:srgbClr val="C00000"/>
                </a:solidFill>
              </a:rPr>
            </a:br>
            <a:r>
              <a:rPr lang="nl-NL" sz="1100">
                <a:solidFill>
                  <a:srgbClr val="000000"/>
                </a:solidFill>
              </a:rPr>
              <a:t>In 2024 maken we een excellente uitvoering en wendbaarheid mogelijk door de ICT te vernieuwen. In deze ontwikkeling van ICT is het niet meer de vraag wat kan, maar de vraag wat mag en wat we willen. We kijken daarbij naar vernieuwing die onze doelen ondersteunt.</a:t>
            </a:r>
            <a:endParaRPr lang="nl-NL" sz="1100">
              <a:solidFill>
                <a:schemeClr val="tx1"/>
              </a:solidFill>
            </a:endParaRPr>
          </a:p>
        </p:txBody>
      </p:sp>
      <p:graphicFrame>
        <p:nvGraphicFramePr>
          <p:cNvPr id="6" name="Diagram 5">
            <a:extLst>
              <a:ext uri="{FF2B5EF4-FFF2-40B4-BE49-F238E27FC236}">
                <a16:creationId xmlns:a16="http://schemas.microsoft.com/office/drawing/2014/main" id="{19AC7FAF-9763-46A0-9E33-645812FFAF13}"/>
              </a:ext>
            </a:extLst>
          </p:cNvPr>
          <p:cNvGraphicFramePr/>
          <p:nvPr>
            <p:extLst>
              <p:ext uri="{D42A27DB-BD31-4B8C-83A1-F6EECF244321}">
                <p14:modId xmlns:p14="http://schemas.microsoft.com/office/powerpoint/2010/main" val="3372983348"/>
              </p:ext>
            </p:extLst>
          </p:nvPr>
        </p:nvGraphicFramePr>
        <p:xfrm>
          <a:off x="89555" y="1143001"/>
          <a:ext cx="12012891" cy="55715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Tabel 6">
            <a:extLst>
              <a:ext uri="{FF2B5EF4-FFF2-40B4-BE49-F238E27FC236}">
                <a16:creationId xmlns:a16="http://schemas.microsoft.com/office/drawing/2014/main" id="{B04AC6CA-5E6B-4573-A526-F24B5E259956}"/>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Tree>
    <p:extLst>
      <p:ext uri="{BB962C8B-B14F-4D97-AF65-F5344CB8AC3E}">
        <p14:creationId xmlns:p14="http://schemas.microsoft.com/office/powerpoint/2010/main" val="18000313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4"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1400" u="none" strike="noStrike" kern="1200" cap="none" spc="0" normalizeH="0" noProof="0">
              <a:ln>
                <a:noFill/>
              </a:ln>
              <a:solidFill>
                <a:srgbClr val="FFFFFF"/>
              </a:solidFill>
              <a:effectLst/>
              <a:uLnTx/>
              <a:uFillTx/>
              <a:latin typeface="Verdana" panose="020B0604030504040204" pitchFamily="34" charset="0"/>
              <a:sym typeface="Verdana" panose="020B0604030504040204" pitchFamily="34" charset="0"/>
            </a:endParaRPr>
          </a:p>
        </p:txBody>
      </p:sp>
      <p:grpSp>
        <p:nvGrpSpPr>
          <p:cNvPr id="2" name="Groep 1">
            <a:extLst>
              <a:ext uri="{FF2B5EF4-FFF2-40B4-BE49-F238E27FC236}">
                <a16:creationId xmlns:a16="http://schemas.microsoft.com/office/drawing/2014/main" id="{4299141C-E459-4187-B284-27303DADE95A}"/>
              </a:ext>
            </a:extLst>
          </p:cNvPr>
          <p:cNvGrpSpPr/>
          <p:nvPr/>
        </p:nvGrpSpPr>
        <p:grpSpPr>
          <a:xfrm>
            <a:off x="94726" y="1357228"/>
            <a:ext cx="12007713" cy="919736"/>
            <a:chOff x="92143" y="2969132"/>
            <a:chExt cx="12007713" cy="919736"/>
          </a:xfrm>
        </p:grpSpPr>
        <p:grpSp>
          <p:nvGrpSpPr>
            <p:cNvPr id="47" name="Groep 46">
              <a:extLst>
                <a:ext uri="{FF2B5EF4-FFF2-40B4-BE49-F238E27FC236}">
                  <a16:creationId xmlns:a16="http://schemas.microsoft.com/office/drawing/2014/main" id="{EB6AA398-FF4E-4FCA-B6DF-AA7032D4DC30}"/>
                </a:ext>
              </a:extLst>
            </p:cNvPr>
            <p:cNvGrpSpPr/>
            <p:nvPr/>
          </p:nvGrpSpPr>
          <p:grpSpPr>
            <a:xfrm>
              <a:off x="92143" y="2969132"/>
              <a:ext cx="1936184" cy="919736"/>
              <a:chOff x="2588" y="228913"/>
              <a:chExt cx="1936184" cy="919736"/>
            </a:xfrm>
          </p:grpSpPr>
          <p:sp>
            <p:nvSpPr>
              <p:cNvPr id="64" name="Pijl: punthaak 63">
                <a:extLst>
                  <a:ext uri="{FF2B5EF4-FFF2-40B4-BE49-F238E27FC236}">
                    <a16:creationId xmlns:a16="http://schemas.microsoft.com/office/drawing/2014/main" id="{7EB1ED5C-06AA-4234-98FA-C54245DF10CD}"/>
                  </a:ext>
                </a:extLst>
              </p:cNvPr>
              <p:cNvSpPr/>
              <p:nvPr/>
            </p:nvSpPr>
            <p:spPr>
              <a:xfrm>
                <a:off x="2588" y="228913"/>
                <a:ext cx="1936184" cy="919736"/>
              </a:xfrm>
              <a:prstGeom prst="chevron">
                <a:avLst/>
              </a:pr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5" name="Pijl: punthaak 4">
                <a:extLst>
                  <a:ext uri="{FF2B5EF4-FFF2-40B4-BE49-F238E27FC236}">
                    <a16:creationId xmlns:a16="http://schemas.microsoft.com/office/drawing/2014/main" id="{A1CDD203-3BE8-4101-824A-13316BE710BA}"/>
                  </a:ext>
                </a:extLst>
              </p:cNvPr>
              <p:cNvSpPr txBox="1"/>
              <p:nvPr/>
            </p:nvSpPr>
            <p:spPr>
              <a:xfrm>
                <a:off x="462456" y="2289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Keten-samenwerking</a:t>
                </a:r>
              </a:p>
            </p:txBody>
          </p:sp>
        </p:grpSp>
        <p:grpSp>
          <p:nvGrpSpPr>
            <p:cNvPr id="49" name="Groep 48">
              <a:extLst>
                <a:ext uri="{FF2B5EF4-FFF2-40B4-BE49-F238E27FC236}">
                  <a16:creationId xmlns:a16="http://schemas.microsoft.com/office/drawing/2014/main" id="{F9AEBAE3-C971-49AA-8892-3D8278C9330C}"/>
                </a:ext>
              </a:extLst>
            </p:cNvPr>
            <p:cNvGrpSpPr/>
            <p:nvPr/>
          </p:nvGrpSpPr>
          <p:grpSpPr>
            <a:xfrm>
              <a:off x="1729413" y="2970609"/>
              <a:ext cx="2287835" cy="916783"/>
              <a:chOff x="1639858" y="230390"/>
              <a:chExt cx="2287835" cy="916783"/>
            </a:xfrm>
          </p:grpSpPr>
          <p:sp>
            <p:nvSpPr>
              <p:cNvPr id="62" name="Pijl: punthaak 61">
                <a:extLst>
                  <a:ext uri="{FF2B5EF4-FFF2-40B4-BE49-F238E27FC236}">
                    <a16:creationId xmlns:a16="http://schemas.microsoft.com/office/drawing/2014/main" id="{2B9AC1D4-A300-4D5E-9BE1-EE432814959D}"/>
                  </a:ext>
                </a:extLst>
              </p:cNvPr>
              <p:cNvSpPr/>
              <p:nvPr/>
            </p:nvSpPr>
            <p:spPr>
              <a:xfrm>
                <a:off x="1639858" y="2303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3" name="Pijl: punthaak 6">
                <a:extLst>
                  <a:ext uri="{FF2B5EF4-FFF2-40B4-BE49-F238E27FC236}">
                    <a16:creationId xmlns:a16="http://schemas.microsoft.com/office/drawing/2014/main" id="{8AFA935A-563F-46A7-B723-73A0110352AA}"/>
                  </a:ext>
                </a:extLst>
              </p:cNvPr>
              <p:cNvSpPr txBox="1"/>
              <p:nvPr/>
            </p:nvSpPr>
            <p:spPr>
              <a:xfrm>
                <a:off x="2098250" y="2303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FontTx/>
                  <a:buNone/>
                </a:pPr>
                <a:r>
                  <a:rPr lang="nl-NL" sz="900" kern="1200">
                    <a:solidFill>
                      <a:schemeClr val="tx1"/>
                    </a:solidFill>
                  </a:rPr>
                  <a:t>Inrichten keten leverancier-tot-klantgroep</a:t>
                </a:r>
              </a:p>
            </p:txBody>
          </p:sp>
        </p:grpSp>
        <p:grpSp>
          <p:nvGrpSpPr>
            <p:cNvPr id="50" name="Groep 49">
              <a:extLst>
                <a:ext uri="{FF2B5EF4-FFF2-40B4-BE49-F238E27FC236}">
                  <a16:creationId xmlns:a16="http://schemas.microsoft.com/office/drawing/2014/main" id="{284FAD67-D150-4EBC-8A06-0A4EC2DDB161}"/>
                </a:ext>
              </a:extLst>
            </p:cNvPr>
            <p:cNvGrpSpPr/>
            <p:nvPr/>
          </p:nvGrpSpPr>
          <p:grpSpPr>
            <a:xfrm>
              <a:off x="3750065" y="2970605"/>
              <a:ext cx="2287835" cy="916790"/>
              <a:chOff x="3660510" y="230386"/>
              <a:chExt cx="2287835" cy="916790"/>
            </a:xfrm>
          </p:grpSpPr>
          <p:sp>
            <p:nvSpPr>
              <p:cNvPr id="60" name="Pijl: punthaak 59">
                <a:extLst>
                  <a:ext uri="{FF2B5EF4-FFF2-40B4-BE49-F238E27FC236}">
                    <a16:creationId xmlns:a16="http://schemas.microsoft.com/office/drawing/2014/main" id="{CD5243A7-4C2F-496E-92EA-D47A218DAE3C}"/>
                  </a:ext>
                </a:extLst>
              </p:cNvPr>
              <p:cNvSpPr/>
              <p:nvPr/>
            </p:nvSpPr>
            <p:spPr>
              <a:xfrm>
                <a:off x="3660510" y="230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1" name="Pijl: punthaak 8">
                <a:extLst>
                  <a:ext uri="{FF2B5EF4-FFF2-40B4-BE49-F238E27FC236}">
                    <a16:creationId xmlns:a16="http://schemas.microsoft.com/office/drawing/2014/main" id="{FF22DC31-396E-4D64-B888-D780F5DC6F3E}"/>
                  </a:ext>
                </a:extLst>
              </p:cNvPr>
              <p:cNvSpPr txBox="1"/>
              <p:nvPr/>
            </p:nvSpPr>
            <p:spPr>
              <a:xfrm>
                <a:off x="4118905" y="230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Font typeface="+mj-lt"/>
                  <a:buNone/>
                </a:pPr>
                <a:r>
                  <a:rPr lang="nl-NL" sz="900" kern="1200">
                    <a:solidFill>
                      <a:schemeClr val="tx1"/>
                    </a:solidFill>
                  </a:rPr>
                  <a:t>Ketenmonitoring uitbreiden naar externe partners</a:t>
                </a:r>
              </a:p>
            </p:txBody>
          </p:sp>
        </p:grpSp>
        <p:grpSp>
          <p:nvGrpSpPr>
            <p:cNvPr id="51" name="Groep 50">
              <a:extLst>
                <a:ext uri="{FF2B5EF4-FFF2-40B4-BE49-F238E27FC236}">
                  <a16:creationId xmlns:a16="http://schemas.microsoft.com/office/drawing/2014/main" id="{2078B065-32FF-48BE-9ED1-276A6BFE2962}"/>
                </a:ext>
              </a:extLst>
            </p:cNvPr>
            <p:cNvGrpSpPr/>
            <p:nvPr/>
          </p:nvGrpSpPr>
          <p:grpSpPr>
            <a:xfrm>
              <a:off x="5770717" y="2970605"/>
              <a:ext cx="2287835" cy="916790"/>
              <a:chOff x="5681162" y="230386"/>
              <a:chExt cx="2287835" cy="916790"/>
            </a:xfrm>
          </p:grpSpPr>
          <p:sp>
            <p:nvSpPr>
              <p:cNvPr id="58" name="Pijl: punthaak 57">
                <a:extLst>
                  <a:ext uri="{FF2B5EF4-FFF2-40B4-BE49-F238E27FC236}">
                    <a16:creationId xmlns:a16="http://schemas.microsoft.com/office/drawing/2014/main" id="{1AAA1D3E-8B38-41D6-B7A1-B7C3B96B16C7}"/>
                  </a:ext>
                </a:extLst>
              </p:cNvPr>
              <p:cNvSpPr/>
              <p:nvPr/>
            </p:nvSpPr>
            <p:spPr>
              <a:xfrm>
                <a:off x="5681162" y="230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9" name="Pijl: punthaak 10">
                <a:extLst>
                  <a:ext uri="{FF2B5EF4-FFF2-40B4-BE49-F238E27FC236}">
                    <a16:creationId xmlns:a16="http://schemas.microsoft.com/office/drawing/2014/main" id="{EE996F34-E79D-4BAC-9EA4-810106B8DE5E}"/>
                  </a:ext>
                </a:extLst>
              </p:cNvPr>
              <p:cNvSpPr txBox="1"/>
              <p:nvPr/>
            </p:nvSpPr>
            <p:spPr>
              <a:xfrm>
                <a:off x="6139557" y="230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Randvoorwaarden scheppen voor ketensamenwerking door hanteren van open standaarden</a:t>
                </a:r>
              </a:p>
            </p:txBody>
          </p:sp>
        </p:grpSp>
        <p:grpSp>
          <p:nvGrpSpPr>
            <p:cNvPr id="52" name="Groep 51">
              <a:extLst>
                <a:ext uri="{FF2B5EF4-FFF2-40B4-BE49-F238E27FC236}">
                  <a16:creationId xmlns:a16="http://schemas.microsoft.com/office/drawing/2014/main" id="{4347A041-D360-4FBB-A2EC-C8C93D1C22AD}"/>
                </a:ext>
              </a:extLst>
            </p:cNvPr>
            <p:cNvGrpSpPr/>
            <p:nvPr/>
          </p:nvGrpSpPr>
          <p:grpSpPr>
            <a:xfrm>
              <a:off x="7791369" y="2970605"/>
              <a:ext cx="2287835" cy="916790"/>
              <a:chOff x="7701814" y="230386"/>
              <a:chExt cx="2287835" cy="916790"/>
            </a:xfrm>
          </p:grpSpPr>
          <p:sp>
            <p:nvSpPr>
              <p:cNvPr id="56" name="Pijl: punthaak 55">
                <a:extLst>
                  <a:ext uri="{FF2B5EF4-FFF2-40B4-BE49-F238E27FC236}">
                    <a16:creationId xmlns:a16="http://schemas.microsoft.com/office/drawing/2014/main" id="{E36477C8-2E76-485B-8805-1DC407629A01}"/>
                  </a:ext>
                </a:extLst>
              </p:cNvPr>
              <p:cNvSpPr/>
              <p:nvPr/>
            </p:nvSpPr>
            <p:spPr>
              <a:xfrm>
                <a:off x="7701814" y="230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7" name="Pijl: punthaak 12">
                <a:extLst>
                  <a:ext uri="{FF2B5EF4-FFF2-40B4-BE49-F238E27FC236}">
                    <a16:creationId xmlns:a16="http://schemas.microsoft.com/office/drawing/2014/main" id="{5AE3D4D3-1526-468B-85AE-938DE4C861FF}"/>
                  </a:ext>
                </a:extLst>
              </p:cNvPr>
              <p:cNvSpPr txBox="1"/>
              <p:nvPr/>
            </p:nvSpPr>
            <p:spPr>
              <a:xfrm>
                <a:off x="8160209" y="230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r>
                  <a:rPr lang="nl-NL" sz="900"/>
                  <a:t>(Inning Eigen Bijdrage)</a:t>
                </a:r>
              </a:p>
            </p:txBody>
          </p:sp>
        </p:grpSp>
        <p:grpSp>
          <p:nvGrpSpPr>
            <p:cNvPr id="53" name="Groep 52">
              <a:extLst>
                <a:ext uri="{FF2B5EF4-FFF2-40B4-BE49-F238E27FC236}">
                  <a16:creationId xmlns:a16="http://schemas.microsoft.com/office/drawing/2014/main" id="{62CD4C23-9BB5-4CBE-84C0-588FE6B19BCF}"/>
                </a:ext>
              </a:extLst>
            </p:cNvPr>
            <p:cNvGrpSpPr/>
            <p:nvPr/>
          </p:nvGrpSpPr>
          <p:grpSpPr>
            <a:xfrm>
              <a:off x="9812021" y="2970605"/>
              <a:ext cx="2287835" cy="916790"/>
              <a:chOff x="9722466" y="230386"/>
              <a:chExt cx="2287835" cy="916790"/>
            </a:xfrm>
          </p:grpSpPr>
          <p:sp>
            <p:nvSpPr>
              <p:cNvPr id="54" name="Pijl: punthaak 53">
                <a:extLst>
                  <a:ext uri="{FF2B5EF4-FFF2-40B4-BE49-F238E27FC236}">
                    <a16:creationId xmlns:a16="http://schemas.microsoft.com/office/drawing/2014/main" id="{0F316536-CF0D-4631-95E3-9DCF85D44B98}"/>
                  </a:ext>
                </a:extLst>
              </p:cNvPr>
              <p:cNvSpPr/>
              <p:nvPr/>
            </p:nvSpPr>
            <p:spPr>
              <a:xfrm>
                <a:off x="9722466" y="230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5" name="Pijl: punthaak 14">
                <a:extLst>
                  <a:ext uri="{FF2B5EF4-FFF2-40B4-BE49-F238E27FC236}">
                    <a16:creationId xmlns:a16="http://schemas.microsoft.com/office/drawing/2014/main" id="{27F70989-CF6D-4C82-9642-F88C37592A6A}"/>
                  </a:ext>
                </a:extLst>
              </p:cNvPr>
              <p:cNvSpPr txBox="1"/>
              <p:nvPr/>
            </p:nvSpPr>
            <p:spPr>
              <a:xfrm>
                <a:off x="10180861" y="230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Ketensamenwerking</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857349"/>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Arial" panose="020B0604020202020204" pitchFamily="34" charset="0"/>
                        <a:buNone/>
                      </a:pPr>
                      <a:r>
                        <a:rPr lang="nl-NL" sz="1100"/>
                        <a:t>Inrichten keten van leverancier tot klantgroep</a:t>
                      </a:r>
                    </a:p>
                  </a:txBody>
                  <a:tcPr/>
                </a:tc>
                <a:tc>
                  <a:txBody>
                    <a:bodyPr/>
                    <a:lstStyle/>
                    <a:p>
                      <a:pPr marL="0" indent="0">
                        <a:buFont typeface="Arial" panose="020B0604020202020204" pitchFamily="34" charset="0"/>
                        <a:buNone/>
                      </a:pPr>
                      <a:r>
                        <a:rPr lang="nl-NL" sz="1100"/>
                        <a:t>Toekomstplan IM</a:t>
                      </a:r>
                    </a:p>
                  </a:txBody>
                  <a:tcPr/>
                </a:tc>
                <a:tc>
                  <a:txBody>
                    <a:bodyPr/>
                    <a:lstStyle/>
                    <a:p>
                      <a:r>
                        <a:rPr lang="nl-NL" sz="1100"/>
                        <a:t>N.v.t.</a:t>
                      </a:r>
                    </a:p>
                  </a:txBody>
                  <a:tcPr/>
                </a:tc>
                <a:tc>
                  <a:txBody>
                    <a:bodyPr/>
                    <a:lstStyle/>
                    <a:p>
                      <a:r>
                        <a:rPr lang="nl-NL" sz="1100"/>
                        <a:t>Afhankelijkheid met uitvoeren EA voor generieke ICT</a:t>
                      </a:r>
                    </a:p>
                  </a:txBody>
                  <a:tcPr/>
                </a:tc>
                <a:extLst>
                  <a:ext uri="{0D108BD9-81ED-4DB2-BD59-A6C34878D82A}">
                    <a16:rowId xmlns:a16="http://schemas.microsoft.com/office/drawing/2014/main" val="2315363676"/>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graphicFrame>
        <p:nvGraphicFramePr>
          <p:cNvPr id="28" name="Diagram 27">
            <a:extLst>
              <a:ext uri="{FF2B5EF4-FFF2-40B4-BE49-F238E27FC236}">
                <a16:creationId xmlns:a16="http://schemas.microsoft.com/office/drawing/2014/main" id="{283B2F32-C2DD-4ECE-8C13-19FE3AC778B6}"/>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1" name="Tekstvak 40">
            <a:extLst>
              <a:ext uri="{FF2B5EF4-FFF2-40B4-BE49-F238E27FC236}">
                <a16:creationId xmlns:a16="http://schemas.microsoft.com/office/drawing/2014/main" id="{F0319DEE-F2EB-4EB6-8818-5E1F9BF10A45}"/>
              </a:ext>
            </a:extLst>
          </p:cNvPr>
          <p:cNvSpPr txBox="1"/>
          <p:nvPr/>
        </p:nvSpPr>
        <p:spPr>
          <a:xfrm>
            <a:off x="502901" y="4380921"/>
            <a:ext cx="11186191" cy="600164"/>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kern="1200">
                <a:solidFill>
                  <a:schemeClr val="dk1"/>
                </a:solidFill>
                <a:latin typeface="+mn-lt"/>
                <a:ea typeface="+mn-ea"/>
                <a:cs typeface="+mn-cs"/>
              </a:rPr>
              <a:t>De IM organisatie is in staat om regie te voeren op de koppelvlakken tussen en met leveranciers. Dat begint onder meer bij bewustwording en groeit over meerdere jaren, met name vanuit competenties. Dit is verder omschreven in het Toekomstbeeld IM.</a:t>
            </a:r>
          </a:p>
        </p:txBody>
      </p:sp>
    </p:spTree>
    <p:extLst>
      <p:ext uri="{BB962C8B-B14F-4D97-AF65-F5344CB8AC3E}">
        <p14:creationId xmlns:p14="http://schemas.microsoft.com/office/powerpoint/2010/main" val="3003948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8"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5" name="Groep 4">
            <a:extLst>
              <a:ext uri="{FF2B5EF4-FFF2-40B4-BE49-F238E27FC236}">
                <a16:creationId xmlns:a16="http://schemas.microsoft.com/office/drawing/2014/main" id="{51DDF8E5-2E4D-4CCC-865E-FD7AA0FF9B4F}"/>
              </a:ext>
            </a:extLst>
          </p:cNvPr>
          <p:cNvGrpSpPr/>
          <p:nvPr/>
        </p:nvGrpSpPr>
        <p:grpSpPr>
          <a:xfrm>
            <a:off x="89554" y="1355752"/>
            <a:ext cx="12007713" cy="919736"/>
            <a:chOff x="92143" y="2969132"/>
            <a:chExt cx="12007713" cy="919736"/>
          </a:xfrm>
        </p:grpSpPr>
        <p:grpSp>
          <p:nvGrpSpPr>
            <p:cNvPr id="28" name="Groep 27">
              <a:extLst>
                <a:ext uri="{FF2B5EF4-FFF2-40B4-BE49-F238E27FC236}">
                  <a16:creationId xmlns:a16="http://schemas.microsoft.com/office/drawing/2014/main" id="{0D1ABECD-E321-47D4-826F-244DC9EE4B2B}"/>
                </a:ext>
              </a:extLst>
            </p:cNvPr>
            <p:cNvGrpSpPr/>
            <p:nvPr/>
          </p:nvGrpSpPr>
          <p:grpSpPr>
            <a:xfrm>
              <a:off x="92143" y="2969132"/>
              <a:ext cx="1936184" cy="919736"/>
              <a:chOff x="2588" y="1277413"/>
              <a:chExt cx="1936184" cy="919736"/>
            </a:xfrm>
          </p:grpSpPr>
          <p:sp>
            <p:nvSpPr>
              <p:cNvPr id="44" name="Pijl: punthaak 43">
                <a:extLst>
                  <a:ext uri="{FF2B5EF4-FFF2-40B4-BE49-F238E27FC236}">
                    <a16:creationId xmlns:a16="http://schemas.microsoft.com/office/drawing/2014/main" id="{D21E00DB-B408-4742-BA0E-8516D5550AA4}"/>
                  </a:ext>
                </a:extLst>
              </p:cNvPr>
              <p:cNvSpPr/>
              <p:nvPr/>
            </p:nvSpPr>
            <p:spPr>
              <a:xfrm>
                <a:off x="2588" y="12774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5" name="Pijl: punthaak 4">
                <a:extLst>
                  <a:ext uri="{FF2B5EF4-FFF2-40B4-BE49-F238E27FC236}">
                    <a16:creationId xmlns:a16="http://schemas.microsoft.com/office/drawing/2014/main" id="{F6387CEB-9E9D-43E3-8022-6FE8614FE44D}"/>
                  </a:ext>
                </a:extLst>
              </p:cNvPr>
              <p:cNvSpPr txBox="1"/>
              <p:nvPr/>
            </p:nvSpPr>
            <p:spPr>
              <a:xfrm>
                <a:off x="462456" y="12774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Automatisering</a:t>
                </a:r>
              </a:p>
            </p:txBody>
          </p:sp>
        </p:grpSp>
        <p:grpSp>
          <p:nvGrpSpPr>
            <p:cNvPr id="29" name="Groep 28">
              <a:extLst>
                <a:ext uri="{FF2B5EF4-FFF2-40B4-BE49-F238E27FC236}">
                  <a16:creationId xmlns:a16="http://schemas.microsoft.com/office/drawing/2014/main" id="{1A024CF3-18D8-4727-8A5B-C8416499E310}"/>
                </a:ext>
              </a:extLst>
            </p:cNvPr>
            <p:cNvGrpSpPr/>
            <p:nvPr/>
          </p:nvGrpSpPr>
          <p:grpSpPr>
            <a:xfrm>
              <a:off x="1729413" y="2970609"/>
              <a:ext cx="2287835" cy="916783"/>
              <a:chOff x="1639858" y="1278890"/>
              <a:chExt cx="2287835" cy="916783"/>
            </a:xfrm>
          </p:grpSpPr>
          <p:sp>
            <p:nvSpPr>
              <p:cNvPr id="42" name="Pijl: punthaak 41">
                <a:extLst>
                  <a:ext uri="{FF2B5EF4-FFF2-40B4-BE49-F238E27FC236}">
                    <a16:creationId xmlns:a16="http://schemas.microsoft.com/office/drawing/2014/main" id="{298F2A48-CF79-4724-ADEB-414BBD461700}"/>
                  </a:ext>
                </a:extLst>
              </p:cNvPr>
              <p:cNvSpPr/>
              <p:nvPr/>
            </p:nvSpPr>
            <p:spPr>
              <a:xfrm>
                <a:off x="1639858" y="12788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3" name="Pijl: punthaak 6">
                <a:extLst>
                  <a:ext uri="{FF2B5EF4-FFF2-40B4-BE49-F238E27FC236}">
                    <a16:creationId xmlns:a16="http://schemas.microsoft.com/office/drawing/2014/main" id="{913F8011-F6A7-4ED4-9958-3148904471CA}"/>
                  </a:ext>
                </a:extLst>
              </p:cNvPr>
              <p:cNvSpPr txBox="1"/>
              <p:nvPr/>
            </p:nvSpPr>
            <p:spPr>
              <a:xfrm>
                <a:off x="2098250" y="12788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ClrTx/>
                  <a:buSzTx/>
                  <a:buFont typeface="+mj-lt"/>
                  <a:buNone/>
                </a:pPr>
                <a:r>
                  <a:rPr lang="nl-NL" sz="900" kern="1200"/>
                  <a:t>Piketdeclaraties automatiseren</a:t>
                </a:r>
              </a:p>
            </p:txBody>
          </p:sp>
        </p:grpSp>
        <p:grpSp>
          <p:nvGrpSpPr>
            <p:cNvPr id="30" name="Groep 29">
              <a:extLst>
                <a:ext uri="{FF2B5EF4-FFF2-40B4-BE49-F238E27FC236}">
                  <a16:creationId xmlns:a16="http://schemas.microsoft.com/office/drawing/2014/main" id="{3AAB00FF-F594-4C97-8B10-3A835F5428F9}"/>
                </a:ext>
              </a:extLst>
            </p:cNvPr>
            <p:cNvGrpSpPr/>
            <p:nvPr/>
          </p:nvGrpSpPr>
          <p:grpSpPr>
            <a:xfrm>
              <a:off x="3750065" y="2970605"/>
              <a:ext cx="2287835" cy="916790"/>
              <a:chOff x="3660510" y="1278886"/>
              <a:chExt cx="2287835" cy="916790"/>
            </a:xfrm>
          </p:grpSpPr>
          <p:sp>
            <p:nvSpPr>
              <p:cNvPr id="40" name="Pijl: punthaak 39">
                <a:extLst>
                  <a:ext uri="{FF2B5EF4-FFF2-40B4-BE49-F238E27FC236}">
                    <a16:creationId xmlns:a16="http://schemas.microsoft.com/office/drawing/2014/main" id="{1B6B5B29-7F5C-43CC-95F6-EF019F6312E0}"/>
                  </a:ext>
                </a:extLst>
              </p:cNvPr>
              <p:cNvSpPr/>
              <p:nvPr/>
            </p:nvSpPr>
            <p:spPr>
              <a:xfrm>
                <a:off x="3660510"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ijl: punthaak 8">
                <a:extLst>
                  <a:ext uri="{FF2B5EF4-FFF2-40B4-BE49-F238E27FC236}">
                    <a16:creationId xmlns:a16="http://schemas.microsoft.com/office/drawing/2014/main" id="{D986FD77-B49D-4B1A-B502-2B63807A3E9C}"/>
                  </a:ext>
                </a:extLst>
              </p:cNvPr>
              <p:cNvSpPr txBox="1"/>
              <p:nvPr/>
            </p:nvSpPr>
            <p:spPr>
              <a:xfrm>
                <a:off x="4118905"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400"/>
                  </a:spcAft>
                  <a:buFont typeface="+mj-lt"/>
                  <a:buNone/>
                </a:pPr>
                <a:r>
                  <a:rPr lang="nl-NL" sz="900" kern="1200"/>
                  <a:t>Automatisering </a:t>
                </a:r>
                <a:r>
                  <a:rPr lang="nl-NL" sz="900" kern="1200" err="1"/>
                  <a:t>Mediation</a:t>
                </a:r>
                <a:r>
                  <a:rPr lang="nl-NL" sz="900" kern="1200"/>
                  <a:t> proces</a:t>
                </a:r>
              </a:p>
              <a:p>
                <a:pPr marL="0" lvl="0" indent="0" algn="ctr" defTabSz="400050">
                  <a:lnSpc>
                    <a:spcPct val="90000"/>
                  </a:lnSpc>
                  <a:spcBef>
                    <a:spcPct val="0"/>
                  </a:spcBef>
                  <a:spcAft>
                    <a:spcPts val="400"/>
                  </a:spcAft>
                  <a:buNone/>
                </a:pPr>
                <a:r>
                  <a:rPr lang="nl-NL" sz="900" kern="1200"/>
                  <a:t>Automatisering beroep- &amp; bezwaarprocessen</a:t>
                </a:r>
              </a:p>
              <a:p>
                <a:pPr marL="0" lvl="0" indent="0" algn="ctr" defTabSz="400050">
                  <a:lnSpc>
                    <a:spcPct val="90000"/>
                  </a:lnSpc>
                  <a:spcBef>
                    <a:spcPct val="0"/>
                  </a:spcBef>
                  <a:spcAft>
                    <a:spcPts val="400"/>
                  </a:spcAft>
                  <a:buNone/>
                </a:pPr>
                <a:r>
                  <a:rPr lang="nl-NL" sz="900" kern="1200"/>
                  <a:t>Proces asielaanvragen automatiseren</a:t>
                </a:r>
              </a:p>
            </p:txBody>
          </p:sp>
        </p:grpSp>
        <p:grpSp>
          <p:nvGrpSpPr>
            <p:cNvPr id="31" name="Groep 30">
              <a:extLst>
                <a:ext uri="{FF2B5EF4-FFF2-40B4-BE49-F238E27FC236}">
                  <a16:creationId xmlns:a16="http://schemas.microsoft.com/office/drawing/2014/main" id="{AD4A204F-4563-45E3-BC4C-9E3B4E3E1EA2}"/>
                </a:ext>
              </a:extLst>
            </p:cNvPr>
            <p:cNvGrpSpPr/>
            <p:nvPr/>
          </p:nvGrpSpPr>
          <p:grpSpPr>
            <a:xfrm>
              <a:off x="5770717" y="2970605"/>
              <a:ext cx="2287835" cy="916790"/>
              <a:chOff x="5681162" y="1278886"/>
              <a:chExt cx="2287835" cy="916790"/>
            </a:xfrm>
          </p:grpSpPr>
          <p:sp>
            <p:nvSpPr>
              <p:cNvPr id="38" name="Pijl: punthaak 37">
                <a:extLst>
                  <a:ext uri="{FF2B5EF4-FFF2-40B4-BE49-F238E27FC236}">
                    <a16:creationId xmlns:a16="http://schemas.microsoft.com/office/drawing/2014/main" id="{C12BD235-D02F-4246-AA30-59A6D4F5DF43}"/>
                  </a:ext>
                </a:extLst>
              </p:cNvPr>
              <p:cNvSpPr/>
              <p:nvPr/>
            </p:nvSpPr>
            <p:spPr>
              <a:xfrm>
                <a:off x="5681162"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ijl: punthaak 10">
                <a:extLst>
                  <a:ext uri="{FF2B5EF4-FFF2-40B4-BE49-F238E27FC236}">
                    <a16:creationId xmlns:a16="http://schemas.microsoft.com/office/drawing/2014/main" id="{746B05D8-E505-48F2-8B03-3C3888D43650}"/>
                  </a:ext>
                </a:extLst>
              </p:cNvPr>
              <p:cNvSpPr txBox="1"/>
              <p:nvPr/>
            </p:nvSpPr>
            <p:spPr>
              <a:xfrm>
                <a:off x="6139557"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Proces extra uren automatiseren</a:t>
                </a:r>
              </a:p>
            </p:txBody>
          </p:sp>
        </p:grpSp>
        <p:grpSp>
          <p:nvGrpSpPr>
            <p:cNvPr id="32" name="Groep 31">
              <a:extLst>
                <a:ext uri="{FF2B5EF4-FFF2-40B4-BE49-F238E27FC236}">
                  <a16:creationId xmlns:a16="http://schemas.microsoft.com/office/drawing/2014/main" id="{658DF467-782E-4247-92F8-B12FC820FE03}"/>
                </a:ext>
              </a:extLst>
            </p:cNvPr>
            <p:cNvGrpSpPr/>
            <p:nvPr/>
          </p:nvGrpSpPr>
          <p:grpSpPr>
            <a:xfrm>
              <a:off x="7791369" y="2970605"/>
              <a:ext cx="2287835" cy="916790"/>
              <a:chOff x="7701814" y="1278886"/>
              <a:chExt cx="2287835" cy="916790"/>
            </a:xfrm>
          </p:grpSpPr>
          <p:sp>
            <p:nvSpPr>
              <p:cNvPr id="36" name="Pijl: punthaak 35">
                <a:extLst>
                  <a:ext uri="{FF2B5EF4-FFF2-40B4-BE49-F238E27FC236}">
                    <a16:creationId xmlns:a16="http://schemas.microsoft.com/office/drawing/2014/main" id="{60CD6B02-847B-4A12-A5C5-80134F9F28C4}"/>
                  </a:ext>
                </a:extLst>
              </p:cNvPr>
              <p:cNvSpPr/>
              <p:nvPr/>
            </p:nvSpPr>
            <p:spPr>
              <a:xfrm>
                <a:off x="7701814"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ijl: punthaak 12">
                <a:extLst>
                  <a:ext uri="{FF2B5EF4-FFF2-40B4-BE49-F238E27FC236}">
                    <a16:creationId xmlns:a16="http://schemas.microsoft.com/office/drawing/2014/main" id="{FB71170C-059C-4D3C-8321-ED21AFE065EC}"/>
                  </a:ext>
                </a:extLst>
              </p:cNvPr>
              <p:cNvSpPr txBox="1"/>
              <p:nvPr/>
            </p:nvSpPr>
            <p:spPr>
              <a:xfrm>
                <a:off x="8160209"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Verdere automatisering doorvoeren in nieuwe database en workflow applicatie</a:t>
                </a:r>
              </a:p>
            </p:txBody>
          </p:sp>
        </p:grpSp>
        <p:grpSp>
          <p:nvGrpSpPr>
            <p:cNvPr id="33" name="Groep 32">
              <a:extLst>
                <a:ext uri="{FF2B5EF4-FFF2-40B4-BE49-F238E27FC236}">
                  <a16:creationId xmlns:a16="http://schemas.microsoft.com/office/drawing/2014/main" id="{E276244B-08D7-4594-BA1C-EBA8F73F8B95}"/>
                </a:ext>
              </a:extLst>
            </p:cNvPr>
            <p:cNvGrpSpPr/>
            <p:nvPr/>
          </p:nvGrpSpPr>
          <p:grpSpPr>
            <a:xfrm>
              <a:off x="9812021" y="2970605"/>
              <a:ext cx="2287835" cy="916790"/>
              <a:chOff x="9722466" y="1278886"/>
              <a:chExt cx="2287835" cy="916790"/>
            </a:xfrm>
          </p:grpSpPr>
          <p:sp>
            <p:nvSpPr>
              <p:cNvPr id="34" name="Pijl: punthaak 33">
                <a:extLst>
                  <a:ext uri="{FF2B5EF4-FFF2-40B4-BE49-F238E27FC236}">
                    <a16:creationId xmlns:a16="http://schemas.microsoft.com/office/drawing/2014/main" id="{126D0BD8-FAC4-4E66-B856-5D05779764B9}"/>
                  </a:ext>
                </a:extLst>
              </p:cNvPr>
              <p:cNvSpPr/>
              <p:nvPr/>
            </p:nvSpPr>
            <p:spPr>
              <a:xfrm>
                <a:off x="9722466" y="1278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ijl: punthaak 14">
                <a:extLst>
                  <a:ext uri="{FF2B5EF4-FFF2-40B4-BE49-F238E27FC236}">
                    <a16:creationId xmlns:a16="http://schemas.microsoft.com/office/drawing/2014/main" id="{938C25DE-550A-4B90-8801-73DEA8D17515}"/>
                  </a:ext>
                </a:extLst>
              </p:cNvPr>
              <p:cNvSpPr txBox="1"/>
              <p:nvPr/>
            </p:nvSpPr>
            <p:spPr>
              <a:xfrm>
                <a:off x="10180861" y="1278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Automatisering</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857349"/>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a:t>Piketdeclaraties automatiseren</a:t>
                      </a:r>
                    </a:p>
                  </a:txBody>
                  <a:tcPr/>
                </a:tc>
                <a:tc>
                  <a:txBody>
                    <a:bodyPr/>
                    <a:lstStyle/>
                    <a:p>
                      <a:r>
                        <a:rPr lang="nl-NL" sz="1100"/>
                        <a:t>Piketdeclaraties in MijnRvR – project</a:t>
                      </a:r>
                    </a:p>
                  </a:txBody>
                  <a:tcPr/>
                </a:tc>
                <a:tc>
                  <a:txBody>
                    <a:bodyPr/>
                    <a:lstStyle/>
                    <a:p>
                      <a:r>
                        <a:rPr lang="nl-NL" sz="1100"/>
                        <a:t>Change in GRAS/</a:t>
                      </a:r>
                      <a:r>
                        <a:rPr lang="nl-NL" sz="1100" err="1"/>
                        <a:t>FileNet</a:t>
                      </a:r>
                      <a:r>
                        <a:rPr lang="nl-NL" sz="1100"/>
                        <a:t> en </a:t>
                      </a:r>
                      <a:r>
                        <a:rPr lang="nl-NL" sz="1100" err="1"/>
                        <a:t>MijnRvR</a:t>
                      </a:r>
                      <a:endParaRPr lang="nl-NL" sz="1100"/>
                    </a:p>
                  </a:txBody>
                  <a:tcPr/>
                </a:tc>
                <a:tc>
                  <a:txBody>
                    <a:bodyPr/>
                    <a:lstStyle/>
                    <a:p>
                      <a:r>
                        <a:rPr lang="nl-NL" sz="1100"/>
                        <a:t>Technische samenhang met andere ontwikkelingen</a:t>
                      </a:r>
                    </a:p>
                  </a:txBody>
                  <a:tcPr/>
                </a:tc>
                <a:extLst>
                  <a:ext uri="{0D108BD9-81ED-4DB2-BD59-A6C34878D82A}">
                    <a16:rowId xmlns:a16="http://schemas.microsoft.com/office/drawing/2014/main" val="2315363676"/>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50" name="Tekstvak 49">
            <a:extLst>
              <a:ext uri="{FF2B5EF4-FFF2-40B4-BE49-F238E27FC236}">
                <a16:creationId xmlns:a16="http://schemas.microsoft.com/office/drawing/2014/main" id="{6C2A59A7-CD04-4819-9B0E-3D1C9F9975EF}"/>
              </a:ext>
            </a:extLst>
          </p:cNvPr>
          <p:cNvSpPr txBox="1"/>
          <p:nvPr/>
        </p:nvSpPr>
        <p:spPr>
          <a:xfrm>
            <a:off x="502901" y="4380921"/>
            <a:ext cx="11186191" cy="769441"/>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kern="1200">
                <a:solidFill>
                  <a:schemeClr val="dk1"/>
                </a:solidFill>
                <a:latin typeface="+mn-lt"/>
                <a:ea typeface="+mn-ea"/>
                <a:cs typeface="+mn-cs"/>
              </a:rPr>
              <a:t>Het handmatige werk in het bestaande declaratieproces gaan we automatiseren. </a:t>
            </a:r>
            <a:r>
              <a:rPr lang="nl-NL" sz="1100">
                <a:solidFill>
                  <a:schemeClr val="dk1"/>
                </a:solidFill>
                <a:latin typeface="+mn-lt"/>
              </a:rPr>
              <a:t>Hiermee wordt het proces van de piketdeclaraties ongeveer voor 68% geautomatiseerd. De declaratieaanvraag kan digitaal via </a:t>
            </a:r>
            <a:r>
              <a:rPr lang="nl-NL" sz="1100" err="1">
                <a:solidFill>
                  <a:schemeClr val="dk1"/>
                </a:solidFill>
                <a:latin typeface="+mn-lt"/>
              </a:rPr>
              <a:t>MijnRvR</a:t>
            </a:r>
            <a:r>
              <a:rPr lang="nl-NL" sz="1100">
                <a:solidFill>
                  <a:schemeClr val="dk1"/>
                </a:solidFill>
                <a:latin typeface="+mn-lt"/>
              </a:rPr>
              <a:t> worden ingediend. Afhankelijk van de status van het kantoor wordt het declaratieverzoek automatisch verwerkt. Dit staat verder omschreven in de Business Case voor piketdeclaraties.</a:t>
            </a:r>
            <a:endParaRPr lang="nl-NL" sz="1100" kern="1200">
              <a:solidFill>
                <a:schemeClr val="dk1"/>
              </a:solidFill>
              <a:latin typeface="+mn-lt"/>
              <a:ea typeface="+mn-ea"/>
              <a:cs typeface="+mn-cs"/>
            </a:endParaRPr>
          </a:p>
        </p:txBody>
      </p:sp>
      <p:graphicFrame>
        <p:nvGraphicFramePr>
          <p:cNvPr id="48" name="Diagram 47">
            <a:extLst>
              <a:ext uri="{FF2B5EF4-FFF2-40B4-BE49-F238E27FC236}">
                <a16:creationId xmlns:a16="http://schemas.microsoft.com/office/drawing/2014/main" id="{AE62E501-117B-4AC3-A1F5-87FB9E2095FF}"/>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59462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2"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5" name="Groep 4">
            <a:extLst>
              <a:ext uri="{FF2B5EF4-FFF2-40B4-BE49-F238E27FC236}">
                <a16:creationId xmlns:a16="http://schemas.microsoft.com/office/drawing/2014/main" id="{3F840249-C9E2-42C7-A2D4-836647BCD01D}"/>
              </a:ext>
            </a:extLst>
          </p:cNvPr>
          <p:cNvGrpSpPr/>
          <p:nvPr/>
        </p:nvGrpSpPr>
        <p:grpSpPr>
          <a:xfrm>
            <a:off x="89554" y="1355754"/>
            <a:ext cx="12007713" cy="919736"/>
            <a:chOff x="92143" y="2969132"/>
            <a:chExt cx="12007713" cy="919736"/>
          </a:xfrm>
        </p:grpSpPr>
        <p:grpSp>
          <p:nvGrpSpPr>
            <p:cNvPr id="28" name="Groep 27">
              <a:extLst>
                <a:ext uri="{FF2B5EF4-FFF2-40B4-BE49-F238E27FC236}">
                  <a16:creationId xmlns:a16="http://schemas.microsoft.com/office/drawing/2014/main" id="{96A645BE-156B-4181-814E-5DCECF0FEA73}"/>
                </a:ext>
              </a:extLst>
            </p:cNvPr>
            <p:cNvGrpSpPr/>
            <p:nvPr/>
          </p:nvGrpSpPr>
          <p:grpSpPr>
            <a:xfrm>
              <a:off x="92143" y="2969132"/>
              <a:ext cx="1936184" cy="919736"/>
              <a:chOff x="2588" y="2325913"/>
              <a:chExt cx="1936184" cy="919736"/>
            </a:xfrm>
          </p:grpSpPr>
          <p:sp>
            <p:nvSpPr>
              <p:cNvPr id="44" name="Pijl: punthaak 43">
                <a:extLst>
                  <a:ext uri="{FF2B5EF4-FFF2-40B4-BE49-F238E27FC236}">
                    <a16:creationId xmlns:a16="http://schemas.microsoft.com/office/drawing/2014/main" id="{55A3DFD9-19AB-423C-99A6-E578FD660DCD}"/>
                  </a:ext>
                </a:extLst>
              </p:cNvPr>
              <p:cNvSpPr/>
              <p:nvPr/>
            </p:nvSpPr>
            <p:spPr>
              <a:xfrm>
                <a:off x="2588" y="23259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5" name="Pijl: punthaak 4">
                <a:extLst>
                  <a:ext uri="{FF2B5EF4-FFF2-40B4-BE49-F238E27FC236}">
                    <a16:creationId xmlns:a16="http://schemas.microsoft.com/office/drawing/2014/main" id="{049E684B-7690-4518-9389-4027E651302A}"/>
                  </a:ext>
                </a:extLst>
              </p:cNvPr>
              <p:cNvSpPr txBox="1"/>
              <p:nvPr/>
            </p:nvSpPr>
            <p:spPr>
              <a:xfrm>
                <a:off x="462456" y="23259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Zelfhulp</a:t>
                </a:r>
              </a:p>
            </p:txBody>
          </p:sp>
        </p:grpSp>
        <p:grpSp>
          <p:nvGrpSpPr>
            <p:cNvPr id="29" name="Groep 28">
              <a:extLst>
                <a:ext uri="{FF2B5EF4-FFF2-40B4-BE49-F238E27FC236}">
                  <a16:creationId xmlns:a16="http://schemas.microsoft.com/office/drawing/2014/main" id="{0B52470A-B5B0-454C-ACDC-EC4892FF7CC8}"/>
                </a:ext>
              </a:extLst>
            </p:cNvPr>
            <p:cNvGrpSpPr/>
            <p:nvPr/>
          </p:nvGrpSpPr>
          <p:grpSpPr>
            <a:xfrm>
              <a:off x="1729413" y="2970609"/>
              <a:ext cx="2287835" cy="916783"/>
              <a:chOff x="1639858" y="2327390"/>
              <a:chExt cx="2287835" cy="916783"/>
            </a:xfrm>
          </p:grpSpPr>
          <p:sp>
            <p:nvSpPr>
              <p:cNvPr id="42" name="Pijl: punthaak 41">
                <a:extLst>
                  <a:ext uri="{FF2B5EF4-FFF2-40B4-BE49-F238E27FC236}">
                    <a16:creationId xmlns:a16="http://schemas.microsoft.com/office/drawing/2014/main" id="{E04291EA-B801-49C8-AB21-431FA2CBFD62}"/>
                  </a:ext>
                </a:extLst>
              </p:cNvPr>
              <p:cNvSpPr/>
              <p:nvPr/>
            </p:nvSpPr>
            <p:spPr>
              <a:xfrm>
                <a:off x="1639858" y="23273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3" name="Pijl: punthaak 6">
                <a:extLst>
                  <a:ext uri="{FF2B5EF4-FFF2-40B4-BE49-F238E27FC236}">
                    <a16:creationId xmlns:a16="http://schemas.microsoft.com/office/drawing/2014/main" id="{16182FA4-E613-414E-81EC-576BA19938D2}"/>
                  </a:ext>
                </a:extLst>
              </p:cNvPr>
              <p:cNvSpPr txBox="1"/>
              <p:nvPr/>
            </p:nvSpPr>
            <p:spPr>
              <a:xfrm>
                <a:off x="2098250" y="23273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Font typeface="Arial" panose="020B0604020202020204" pitchFamily="34" charset="0"/>
                  <a:buNone/>
                </a:pPr>
                <a:r>
                  <a:rPr lang="nl-NL" sz="900" kern="1200"/>
                  <a:t>Opties voor zelfhulp binnen portalen uitzoeken</a:t>
                </a:r>
              </a:p>
            </p:txBody>
          </p:sp>
        </p:grpSp>
        <p:grpSp>
          <p:nvGrpSpPr>
            <p:cNvPr id="30" name="Groep 29">
              <a:extLst>
                <a:ext uri="{FF2B5EF4-FFF2-40B4-BE49-F238E27FC236}">
                  <a16:creationId xmlns:a16="http://schemas.microsoft.com/office/drawing/2014/main" id="{CB99A574-3390-44CC-8069-22CEDF3458F6}"/>
                </a:ext>
              </a:extLst>
            </p:cNvPr>
            <p:cNvGrpSpPr/>
            <p:nvPr/>
          </p:nvGrpSpPr>
          <p:grpSpPr>
            <a:xfrm>
              <a:off x="3750065" y="2970605"/>
              <a:ext cx="2287835" cy="916790"/>
              <a:chOff x="3660510" y="2327386"/>
              <a:chExt cx="2287835" cy="916790"/>
            </a:xfrm>
          </p:grpSpPr>
          <p:sp>
            <p:nvSpPr>
              <p:cNvPr id="40" name="Pijl: punthaak 39">
                <a:extLst>
                  <a:ext uri="{FF2B5EF4-FFF2-40B4-BE49-F238E27FC236}">
                    <a16:creationId xmlns:a16="http://schemas.microsoft.com/office/drawing/2014/main" id="{7FFD60B3-409D-4186-834B-71E5FE076ACA}"/>
                  </a:ext>
                </a:extLst>
              </p:cNvPr>
              <p:cNvSpPr/>
              <p:nvPr/>
            </p:nvSpPr>
            <p:spPr>
              <a:xfrm>
                <a:off x="3660510"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ijl: punthaak 8">
                <a:extLst>
                  <a:ext uri="{FF2B5EF4-FFF2-40B4-BE49-F238E27FC236}">
                    <a16:creationId xmlns:a16="http://schemas.microsoft.com/office/drawing/2014/main" id="{A017277F-102D-417B-BDF6-3A78C4ED0F59}"/>
                  </a:ext>
                </a:extLst>
              </p:cNvPr>
              <p:cNvSpPr txBox="1"/>
              <p:nvPr/>
            </p:nvSpPr>
            <p:spPr>
              <a:xfrm>
                <a:off x="4118905"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ClrTx/>
                  <a:buSzTx/>
                  <a:buFont typeface="Arial" panose="020B0604020202020204" pitchFamily="34" charset="0"/>
                  <a:buNone/>
                </a:pPr>
                <a:r>
                  <a:rPr lang="nl-NL" sz="900" kern="1200"/>
                  <a:t>Mogelijkheden </a:t>
                </a:r>
                <a:r>
                  <a:rPr lang="nl-NL" sz="900" kern="1200" err="1"/>
                  <a:t>chatbot</a:t>
                </a:r>
                <a:r>
                  <a:rPr lang="nl-NL" sz="900" kern="1200"/>
                  <a:t> o.i.d. onderzoeken</a:t>
                </a:r>
                <a:endParaRPr lang="nl-NL" sz="900" kern="1200">
                  <a:solidFill>
                    <a:srgbClr val="C00000"/>
                  </a:solidFill>
                </a:endParaRPr>
              </a:p>
            </p:txBody>
          </p:sp>
        </p:grpSp>
        <p:grpSp>
          <p:nvGrpSpPr>
            <p:cNvPr id="31" name="Groep 30">
              <a:extLst>
                <a:ext uri="{FF2B5EF4-FFF2-40B4-BE49-F238E27FC236}">
                  <a16:creationId xmlns:a16="http://schemas.microsoft.com/office/drawing/2014/main" id="{D5A1A883-6E4A-4198-BFA3-120AA4E378BA}"/>
                </a:ext>
              </a:extLst>
            </p:cNvPr>
            <p:cNvGrpSpPr/>
            <p:nvPr/>
          </p:nvGrpSpPr>
          <p:grpSpPr>
            <a:xfrm>
              <a:off x="5770717" y="2970605"/>
              <a:ext cx="2287835" cy="916790"/>
              <a:chOff x="5681162" y="2327386"/>
              <a:chExt cx="2287835" cy="916790"/>
            </a:xfrm>
          </p:grpSpPr>
          <p:sp>
            <p:nvSpPr>
              <p:cNvPr id="38" name="Pijl: punthaak 37">
                <a:extLst>
                  <a:ext uri="{FF2B5EF4-FFF2-40B4-BE49-F238E27FC236}">
                    <a16:creationId xmlns:a16="http://schemas.microsoft.com/office/drawing/2014/main" id="{334315A8-CC96-4644-B052-6E4EFD7E9FB5}"/>
                  </a:ext>
                </a:extLst>
              </p:cNvPr>
              <p:cNvSpPr/>
              <p:nvPr/>
            </p:nvSpPr>
            <p:spPr>
              <a:xfrm>
                <a:off x="5681162"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ijl: punthaak 10">
                <a:extLst>
                  <a:ext uri="{FF2B5EF4-FFF2-40B4-BE49-F238E27FC236}">
                    <a16:creationId xmlns:a16="http://schemas.microsoft.com/office/drawing/2014/main" id="{09E8369F-5017-4E42-BBA9-3BD2E18A35BF}"/>
                  </a:ext>
                </a:extLst>
              </p:cNvPr>
              <p:cNvSpPr txBox="1"/>
              <p:nvPr/>
            </p:nvSpPr>
            <p:spPr>
              <a:xfrm>
                <a:off x="6139557"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Zelfselectie rechtshulppakketten inrichten</a:t>
                </a:r>
              </a:p>
            </p:txBody>
          </p:sp>
        </p:grpSp>
        <p:grpSp>
          <p:nvGrpSpPr>
            <p:cNvPr id="32" name="Groep 31">
              <a:extLst>
                <a:ext uri="{FF2B5EF4-FFF2-40B4-BE49-F238E27FC236}">
                  <a16:creationId xmlns:a16="http://schemas.microsoft.com/office/drawing/2014/main" id="{3CA1B63C-1B74-4780-8F6B-6BA35DEBCB16}"/>
                </a:ext>
              </a:extLst>
            </p:cNvPr>
            <p:cNvGrpSpPr/>
            <p:nvPr/>
          </p:nvGrpSpPr>
          <p:grpSpPr>
            <a:xfrm>
              <a:off x="7791369" y="2970605"/>
              <a:ext cx="2287835" cy="916790"/>
              <a:chOff x="7701814" y="2327386"/>
              <a:chExt cx="2287835" cy="916790"/>
            </a:xfrm>
          </p:grpSpPr>
          <p:sp>
            <p:nvSpPr>
              <p:cNvPr id="36" name="Pijl: punthaak 35">
                <a:extLst>
                  <a:ext uri="{FF2B5EF4-FFF2-40B4-BE49-F238E27FC236}">
                    <a16:creationId xmlns:a16="http://schemas.microsoft.com/office/drawing/2014/main" id="{F423BBE7-6E83-4AB8-952E-B4F208ACC796}"/>
                  </a:ext>
                </a:extLst>
              </p:cNvPr>
              <p:cNvSpPr/>
              <p:nvPr/>
            </p:nvSpPr>
            <p:spPr>
              <a:xfrm>
                <a:off x="7701814"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ijl: punthaak 12">
                <a:extLst>
                  <a:ext uri="{FF2B5EF4-FFF2-40B4-BE49-F238E27FC236}">
                    <a16:creationId xmlns:a16="http://schemas.microsoft.com/office/drawing/2014/main" id="{9DAEDE49-1F96-4329-9DB2-5889BCF14AC1}"/>
                  </a:ext>
                </a:extLst>
              </p:cNvPr>
              <p:cNvSpPr txBox="1"/>
              <p:nvPr/>
            </p:nvSpPr>
            <p:spPr>
              <a:xfrm>
                <a:off x="8160209"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Burgerportaal uitbreiden en realiseren</a:t>
                </a:r>
              </a:p>
            </p:txBody>
          </p:sp>
        </p:grpSp>
        <p:grpSp>
          <p:nvGrpSpPr>
            <p:cNvPr id="33" name="Groep 32">
              <a:extLst>
                <a:ext uri="{FF2B5EF4-FFF2-40B4-BE49-F238E27FC236}">
                  <a16:creationId xmlns:a16="http://schemas.microsoft.com/office/drawing/2014/main" id="{42E93E4F-A1E0-4F15-A652-E5F857AAA111}"/>
                </a:ext>
              </a:extLst>
            </p:cNvPr>
            <p:cNvGrpSpPr/>
            <p:nvPr/>
          </p:nvGrpSpPr>
          <p:grpSpPr>
            <a:xfrm>
              <a:off x="9812021" y="2970605"/>
              <a:ext cx="2287835" cy="916790"/>
              <a:chOff x="9722466" y="2327386"/>
              <a:chExt cx="2287835" cy="916790"/>
            </a:xfrm>
          </p:grpSpPr>
          <p:sp>
            <p:nvSpPr>
              <p:cNvPr id="34" name="Pijl: punthaak 33">
                <a:extLst>
                  <a:ext uri="{FF2B5EF4-FFF2-40B4-BE49-F238E27FC236}">
                    <a16:creationId xmlns:a16="http://schemas.microsoft.com/office/drawing/2014/main" id="{15E287F6-ABDA-4D88-90D9-CA8EAD8C8CBD}"/>
                  </a:ext>
                </a:extLst>
              </p:cNvPr>
              <p:cNvSpPr/>
              <p:nvPr/>
            </p:nvSpPr>
            <p:spPr>
              <a:xfrm>
                <a:off x="9722466" y="2327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ijl: punthaak 14">
                <a:extLst>
                  <a:ext uri="{FF2B5EF4-FFF2-40B4-BE49-F238E27FC236}">
                    <a16:creationId xmlns:a16="http://schemas.microsoft.com/office/drawing/2014/main" id="{BD14C394-D793-4EEE-9D43-0DDFF6B70E3A}"/>
                  </a:ext>
                </a:extLst>
              </p:cNvPr>
              <p:cNvSpPr txBox="1"/>
              <p:nvPr/>
            </p:nvSpPr>
            <p:spPr>
              <a:xfrm>
                <a:off x="10180861" y="2327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Zelfhulp</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extLst>
              <p:ext uri="{D42A27DB-BD31-4B8C-83A1-F6EECF244321}">
                <p14:modId xmlns:p14="http://schemas.microsoft.com/office/powerpoint/2010/main" val="2487555820"/>
              </p:ext>
            </p:extLst>
          </p:nvPr>
        </p:nvGraphicFramePr>
        <p:xfrm>
          <a:off x="516000" y="2700000"/>
          <a:ext cx="11160000" cy="1011312"/>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a:t>Opties voor zelfhulp binnen portalen uitzoeken</a:t>
                      </a:r>
                    </a:p>
                  </a:txBody>
                  <a:tcPr/>
                </a:tc>
                <a:tc>
                  <a:txBody>
                    <a:bodyPr/>
                    <a:lstStyle/>
                    <a:p>
                      <a:pPr marL="0" indent="0">
                        <a:buFont typeface="Arial" panose="020B0604020202020204" pitchFamily="34" charset="0"/>
                        <a:buNone/>
                      </a:pPr>
                      <a:r>
                        <a:rPr lang="nl-NL" sz="1100"/>
                        <a:t>Planvorming voor zelfhulp </a:t>
                      </a:r>
                    </a:p>
                  </a:txBody>
                  <a:tcPr/>
                </a:tc>
                <a:tc>
                  <a:txBody>
                    <a:bodyPr/>
                    <a:lstStyle/>
                    <a:p>
                      <a:r>
                        <a:rPr lang="nl-NL" sz="1100" dirty="0"/>
                        <a:t>Nader te bepalen</a:t>
                      </a:r>
                    </a:p>
                  </a:txBody>
                  <a:tcPr/>
                </a:tc>
                <a:tc>
                  <a:txBody>
                    <a:bodyPr/>
                    <a:lstStyle/>
                    <a:p>
                      <a:r>
                        <a:rPr lang="nl-NL" sz="1100" dirty="0"/>
                        <a:t>De ontwikkelingen binnen de portalen zijn al te ver om nog op in te grijpen</a:t>
                      </a:r>
                    </a:p>
                  </a:txBody>
                  <a:tcPr/>
                </a:tc>
                <a:extLst>
                  <a:ext uri="{0D108BD9-81ED-4DB2-BD59-A6C34878D82A}">
                    <a16:rowId xmlns:a16="http://schemas.microsoft.com/office/drawing/2014/main" val="2315363676"/>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50" name="Tekstvak 49">
            <a:extLst>
              <a:ext uri="{FF2B5EF4-FFF2-40B4-BE49-F238E27FC236}">
                <a16:creationId xmlns:a16="http://schemas.microsoft.com/office/drawing/2014/main" id="{F293C459-BA26-4225-8D04-5140BC03A8D6}"/>
              </a:ext>
            </a:extLst>
          </p:cNvPr>
          <p:cNvSpPr txBox="1"/>
          <p:nvPr/>
        </p:nvSpPr>
        <p:spPr>
          <a:xfrm>
            <a:off x="502901" y="4380921"/>
            <a:ext cx="11186191" cy="769441"/>
          </a:xfrm>
          <a:prstGeom prst="rect">
            <a:avLst/>
          </a:prstGeom>
          <a:noFill/>
        </p:spPr>
        <p:txBody>
          <a:bodyPr wrap="square" rtlCol="0">
            <a:spAutoFit/>
          </a:bodyPr>
          <a:lstStyle/>
          <a:p>
            <a:r>
              <a:rPr lang="nl-NL" sz="1100" b="1" dirty="0">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kern="1200" dirty="0">
                <a:solidFill>
                  <a:schemeClr val="dk1"/>
                </a:solidFill>
                <a:latin typeface="+mn-lt"/>
                <a:ea typeface="+mn-ea"/>
                <a:cs typeface="+mn-cs"/>
              </a:rPr>
              <a:t>In 2020 </a:t>
            </a:r>
            <a:r>
              <a:rPr lang="nl-NL" sz="1100" dirty="0">
                <a:solidFill>
                  <a:schemeClr val="dk1"/>
                </a:solidFill>
                <a:latin typeface="+mn-lt"/>
              </a:rPr>
              <a:t>starten we met het uitzoeken van de mogelijkheden voor zelfhulp binnen de huidige portalen en het uitbreiden van rechtsgebieden binnen </a:t>
            </a:r>
            <a:r>
              <a:rPr lang="nl-NL" sz="1100" dirty="0" err="1">
                <a:solidFill>
                  <a:schemeClr val="dk1"/>
                </a:solidFill>
                <a:latin typeface="+mn-lt"/>
              </a:rPr>
              <a:t>Rechtwijzer</a:t>
            </a:r>
            <a:r>
              <a:rPr lang="nl-NL" sz="1100" dirty="0">
                <a:solidFill>
                  <a:schemeClr val="dk1"/>
                </a:solidFill>
                <a:latin typeface="+mn-lt"/>
              </a:rPr>
              <a:t>. Dit onderzoek draagt bij aan de planvorming voor zelfhulp. Het vindt plaats in navolging van het </a:t>
            </a:r>
            <a:r>
              <a:rPr lang="nl-NL" sz="1100" dirty="0" err="1">
                <a:solidFill>
                  <a:schemeClr val="dk1"/>
                </a:solidFill>
                <a:latin typeface="+mn-lt"/>
              </a:rPr>
              <a:t>Wbtv</a:t>
            </a:r>
            <a:r>
              <a:rPr lang="nl-NL" sz="1100" dirty="0">
                <a:solidFill>
                  <a:schemeClr val="dk1"/>
                </a:solidFill>
                <a:latin typeface="+mn-lt"/>
              </a:rPr>
              <a:t>-portaal, maar richt zich nu ook op rechtsbijstandsverleners en mediators.</a:t>
            </a:r>
            <a:endParaRPr lang="nl-NL" sz="1100" kern="1200" dirty="0">
              <a:solidFill>
                <a:schemeClr val="dk1"/>
              </a:solidFill>
              <a:latin typeface="+mn-lt"/>
              <a:ea typeface="+mn-ea"/>
              <a:cs typeface="+mn-cs"/>
            </a:endParaRPr>
          </a:p>
        </p:txBody>
      </p:sp>
      <p:graphicFrame>
        <p:nvGraphicFramePr>
          <p:cNvPr id="48" name="Diagram 47">
            <a:extLst>
              <a:ext uri="{FF2B5EF4-FFF2-40B4-BE49-F238E27FC236}">
                <a16:creationId xmlns:a16="http://schemas.microsoft.com/office/drawing/2014/main" id="{5EAAC5B0-FD1C-41C3-8662-931C6F6623BD}"/>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72134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6"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5" name="Groep 4">
            <a:extLst>
              <a:ext uri="{FF2B5EF4-FFF2-40B4-BE49-F238E27FC236}">
                <a16:creationId xmlns:a16="http://schemas.microsoft.com/office/drawing/2014/main" id="{CF55D3C0-82C7-4020-9277-2CFE7D82E868}"/>
              </a:ext>
            </a:extLst>
          </p:cNvPr>
          <p:cNvGrpSpPr/>
          <p:nvPr/>
        </p:nvGrpSpPr>
        <p:grpSpPr>
          <a:xfrm>
            <a:off x="90846" y="1355752"/>
            <a:ext cx="12010302" cy="919736"/>
            <a:chOff x="90849" y="2969132"/>
            <a:chExt cx="12010302" cy="919736"/>
          </a:xfrm>
        </p:grpSpPr>
        <p:grpSp>
          <p:nvGrpSpPr>
            <p:cNvPr id="28" name="Groep 27">
              <a:extLst>
                <a:ext uri="{FF2B5EF4-FFF2-40B4-BE49-F238E27FC236}">
                  <a16:creationId xmlns:a16="http://schemas.microsoft.com/office/drawing/2014/main" id="{8FB4973A-0933-49DD-B905-05F191D5F600}"/>
                </a:ext>
              </a:extLst>
            </p:cNvPr>
            <p:cNvGrpSpPr/>
            <p:nvPr/>
          </p:nvGrpSpPr>
          <p:grpSpPr>
            <a:xfrm>
              <a:off x="90849" y="2969132"/>
              <a:ext cx="1936184" cy="919736"/>
              <a:chOff x="2588" y="3374413"/>
              <a:chExt cx="1936184" cy="919736"/>
            </a:xfrm>
          </p:grpSpPr>
          <p:sp>
            <p:nvSpPr>
              <p:cNvPr id="44" name="Pijl: punthaak 43">
                <a:extLst>
                  <a:ext uri="{FF2B5EF4-FFF2-40B4-BE49-F238E27FC236}">
                    <a16:creationId xmlns:a16="http://schemas.microsoft.com/office/drawing/2014/main" id="{698A9D94-1F64-4B41-A864-FB58AF70D46B}"/>
                  </a:ext>
                </a:extLst>
              </p:cNvPr>
              <p:cNvSpPr/>
              <p:nvPr/>
            </p:nvSpPr>
            <p:spPr>
              <a:xfrm>
                <a:off x="2588" y="33744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5" name="Pijl: punthaak 4">
                <a:extLst>
                  <a:ext uri="{FF2B5EF4-FFF2-40B4-BE49-F238E27FC236}">
                    <a16:creationId xmlns:a16="http://schemas.microsoft.com/office/drawing/2014/main" id="{7F5F4E7B-E251-48F8-ACE5-14933A40F7E3}"/>
                  </a:ext>
                </a:extLst>
              </p:cNvPr>
              <p:cNvSpPr txBox="1"/>
              <p:nvPr/>
            </p:nvSpPr>
            <p:spPr>
              <a:xfrm>
                <a:off x="462456" y="33744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Infrastructuur</a:t>
                </a:r>
              </a:p>
            </p:txBody>
          </p:sp>
        </p:grpSp>
        <p:grpSp>
          <p:nvGrpSpPr>
            <p:cNvPr id="29" name="Groep 28">
              <a:extLst>
                <a:ext uri="{FF2B5EF4-FFF2-40B4-BE49-F238E27FC236}">
                  <a16:creationId xmlns:a16="http://schemas.microsoft.com/office/drawing/2014/main" id="{2A236A4A-F7DD-4A1A-BF71-F343CF125DE3}"/>
                </a:ext>
              </a:extLst>
            </p:cNvPr>
            <p:cNvGrpSpPr/>
            <p:nvPr/>
          </p:nvGrpSpPr>
          <p:grpSpPr>
            <a:xfrm>
              <a:off x="1728119" y="2970609"/>
              <a:ext cx="2287835" cy="916783"/>
              <a:chOff x="1639858" y="3375890"/>
              <a:chExt cx="2287835" cy="916783"/>
            </a:xfrm>
          </p:grpSpPr>
          <p:sp>
            <p:nvSpPr>
              <p:cNvPr id="42" name="Pijl: punthaak 41">
                <a:extLst>
                  <a:ext uri="{FF2B5EF4-FFF2-40B4-BE49-F238E27FC236}">
                    <a16:creationId xmlns:a16="http://schemas.microsoft.com/office/drawing/2014/main" id="{F844B5EE-FD94-4259-87D6-238D72EB25A8}"/>
                  </a:ext>
                </a:extLst>
              </p:cNvPr>
              <p:cNvSpPr/>
              <p:nvPr/>
            </p:nvSpPr>
            <p:spPr>
              <a:xfrm>
                <a:off x="1639858" y="33758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3" name="Pijl: punthaak 6">
                <a:extLst>
                  <a:ext uri="{FF2B5EF4-FFF2-40B4-BE49-F238E27FC236}">
                    <a16:creationId xmlns:a16="http://schemas.microsoft.com/office/drawing/2014/main" id="{FC0CFBF7-52D4-490D-A843-093D1B88864A}"/>
                  </a:ext>
                </a:extLst>
              </p:cNvPr>
              <p:cNvSpPr txBox="1"/>
              <p:nvPr/>
            </p:nvSpPr>
            <p:spPr>
              <a:xfrm>
                <a:off x="2098250" y="33758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Cloudstrategie vastgesteld</a:t>
                </a:r>
              </a:p>
            </p:txBody>
          </p:sp>
        </p:grpSp>
        <p:grpSp>
          <p:nvGrpSpPr>
            <p:cNvPr id="30" name="Groep 29">
              <a:extLst>
                <a:ext uri="{FF2B5EF4-FFF2-40B4-BE49-F238E27FC236}">
                  <a16:creationId xmlns:a16="http://schemas.microsoft.com/office/drawing/2014/main" id="{C03BCFDA-9929-42A3-B4B5-8B4B2972D15F}"/>
                </a:ext>
              </a:extLst>
            </p:cNvPr>
            <p:cNvGrpSpPr/>
            <p:nvPr/>
          </p:nvGrpSpPr>
          <p:grpSpPr>
            <a:xfrm>
              <a:off x="3748771" y="2970605"/>
              <a:ext cx="2287835" cy="916790"/>
              <a:chOff x="3660510" y="3375886"/>
              <a:chExt cx="2287835" cy="916790"/>
            </a:xfrm>
          </p:grpSpPr>
          <p:sp>
            <p:nvSpPr>
              <p:cNvPr id="40" name="Pijl: punthaak 39">
                <a:extLst>
                  <a:ext uri="{FF2B5EF4-FFF2-40B4-BE49-F238E27FC236}">
                    <a16:creationId xmlns:a16="http://schemas.microsoft.com/office/drawing/2014/main" id="{7E05A0B1-82F2-4AF3-ADFB-6467A081A0B5}"/>
                  </a:ext>
                </a:extLst>
              </p:cNvPr>
              <p:cNvSpPr/>
              <p:nvPr/>
            </p:nvSpPr>
            <p:spPr>
              <a:xfrm>
                <a:off x="3660510"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ijl: punthaak 8">
                <a:extLst>
                  <a:ext uri="{FF2B5EF4-FFF2-40B4-BE49-F238E27FC236}">
                    <a16:creationId xmlns:a16="http://schemas.microsoft.com/office/drawing/2014/main" id="{5343B87F-3B15-4A34-9A78-08648F1311A1}"/>
                  </a:ext>
                </a:extLst>
              </p:cNvPr>
              <p:cNvSpPr txBox="1"/>
              <p:nvPr/>
            </p:nvSpPr>
            <p:spPr>
              <a:xfrm>
                <a:off x="4118905"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Applicaties naar de </a:t>
                </a:r>
                <a:r>
                  <a:rPr lang="nl-NL" sz="900" kern="1200" err="1"/>
                  <a:t>cloud</a:t>
                </a:r>
                <a:r>
                  <a:rPr lang="nl-NL" sz="900" kern="1200"/>
                  <a:t> brengen</a:t>
                </a:r>
              </a:p>
            </p:txBody>
          </p:sp>
        </p:grpSp>
        <p:grpSp>
          <p:nvGrpSpPr>
            <p:cNvPr id="31" name="Groep 30">
              <a:extLst>
                <a:ext uri="{FF2B5EF4-FFF2-40B4-BE49-F238E27FC236}">
                  <a16:creationId xmlns:a16="http://schemas.microsoft.com/office/drawing/2014/main" id="{A0397B9F-7DBE-4F50-B27D-38949EF9F68B}"/>
                </a:ext>
              </a:extLst>
            </p:cNvPr>
            <p:cNvGrpSpPr/>
            <p:nvPr/>
          </p:nvGrpSpPr>
          <p:grpSpPr>
            <a:xfrm>
              <a:off x="5769423" y="2970605"/>
              <a:ext cx="2287835" cy="916790"/>
              <a:chOff x="5681162" y="3375886"/>
              <a:chExt cx="2287835" cy="916790"/>
            </a:xfrm>
          </p:grpSpPr>
          <p:sp>
            <p:nvSpPr>
              <p:cNvPr id="38" name="Pijl: punthaak 37">
                <a:extLst>
                  <a:ext uri="{FF2B5EF4-FFF2-40B4-BE49-F238E27FC236}">
                    <a16:creationId xmlns:a16="http://schemas.microsoft.com/office/drawing/2014/main" id="{E84DEA97-6B50-4B24-AE5E-E43DC7DCE922}"/>
                  </a:ext>
                </a:extLst>
              </p:cNvPr>
              <p:cNvSpPr/>
              <p:nvPr/>
            </p:nvSpPr>
            <p:spPr>
              <a:xfrm>
                <a:off x="5681162"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ijl: punthaak 10">
                <a:extLst>
                  <a:ext uri="{FF2B5EF4-FFF2-40B4-BE49-F238E27FC236}">
                    <a16:creationId xmlns:a16="http://schemas.microsoft.com/office/drawing/2014/main" id="{EE484F12-F62B-4CD7-811C-649BA8DD6872}"/>
                  </a:ext>
                </a:extLst>
              </p:cNvPr>
              <p:cNvSpPr txBox="1"/>
              <p:nvPr/>
            </p:nvSpPr>
            <p:spPr>
              <a:xfrm>
                <a:off x="6139557"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Applicaties naar de </a:t>
                </a:r>
                <a:r>
                  <a:rPr lang="nl-NL" sz="900" kern="1200" err="1"/>
                  <a:t>cloud</a:t>
                </a:r>
                <a:r>
                  <a:rPr lang="nl-NL" sz="900" kern="1200"/>
                  <a:t> brengen</a:t>
                </a:r>
              </a:p>
            </p:txBody>
          </p:sp>
        </p:grpSp>
        <p:grpSp>
          <p:nvGrpSpPr>
            <p:cNvPr id="32" name="Groep 31">
              <a:extLst>
                <a:ext uri="{FF2B5EF4-FFF2-40B4-BE49-F238E27FC236}">
                  <a16:creationId xmlns:a16="http://schemas.microsoft.com/office/drawing/2014/main" id="{BDCB3901-4BD7-46C5-BC90-E56A83DB41C9}"/>
                </a:ext>
              </a:extLst>
            </p:cNvPr>
            <p:cNvGrpSpPr/>
            <p:nvPr/>
          </p:nvGrpSpPr>
          <p:grpSpPr>
            <a:xfrm>
              <a:off x="7790075" y="2970605"/>
              <a:ext cx="2287835" cy="916790"/>
              <a:chOff x="7701814" y="3375886"/>
              <a:chExt cx="2287835" cy="916790"/>
            </a:xfrm>
          </p:grpSpPr>
          <p:sp>
            <p:nvSpPr>
              <p:cNvPr id="36" name="Pijl: punthaak 35">
                <a:extLst>
                  <a:ext uri="{FF2B5EF4-FFF2-40B4-BE49-F238E27FC236}">
                    <a16:creationId xmlns:a16="http://schemas.microsoft.com/office/drawing/2014/main" id="{9813CEA9-011C-4758-B84F-0641B6094B98}"/>
                  </a:ext>
                </a:extLst>
              </p:cNvPr>
              <p:cNvSpPr/>
              <p:nvPr/>
            </p:nvSpPr>
            <p:spPr>
              <a:xfrm>
                <a:off x="7701814"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ijl: punthaak 12">
                <a:extLst>
                  <a:ext uri="{FF2B5EF4-FFF2-40B4-BE49-F238E27FC236}">
                    <a16:creationId xmlns:a16="http://schemas.microsoft.com/office/drawing/2014/main" id="{DD092942-33C9-4542-BB2F-884EDED0635B}"/>
                  </a:ext>
                </a:extLst>
              </p:cNvPr>
              <p:cNvSpPr txBox="1"/>
              <p:nvPr/>
            </p:nvSpPr>
            <p:spPr>
              <a:xfrm>
                <a:off x="8160209"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Applicaties naar de </a:t>
                </a:r>
                <a:r>
                  <a:rPr lang="nl-NL" sz="900" kern="1200" err="1"/>
                  <a:t>cloud</a:t>
                </a:r>
                <a:r>
                  <a:rPr lang="nl-NL" sz="900" kern="1200"/>
                  <a:t> brengen</a:t>
                </a:r>
              </a:p>
            </p:txBody>
          </p:sp>
        </p:grpSp>
        <p:grpSp>
          <p:nvGrpSpPr>
            <p:cNvPr id="33" name="Groep 32">
              <a:extLst>
                <a:ext uri="{FF2B5EF4-FFF2-40B4-BE49-F238E27FC236}">
                  <a16:creationId xmlns:a16="http://schemas.microsoft.com/office/drawing/2014/main" id="{C5CBE7C4-B408-4518-A147-45383A65208F}"/>
                </a:ext>
              </a:extLst>
            </p:cNvPr>
            <p:cNvGrpSpPr/>
            <p:nvPr/>
          </p:nvGrpSpPr>
          <p:grpSpPr>
            <a:xfrm>
              <a:off x="9813316" y="2970605"/>
              <a:ext cx="2287835" cy="916790"/>
              <a:chOff x="9725055" y="3375886"/>
              <a:chExt cx="2287835" cy="916790"/>
            </a:xfrm>
          </p:grpSpPr>
          <p:sp>
            <p:nvSpPr>
              <p:cNvPr id="34" name="Pijl: punthaak 33">
                <a:extLst>
                  <a:ext uri="{FF2B5EF4-FFF2-40B4-BE49-F238E27FC236}">
                    <a16:creationId xmlns:a16="http://schemas.microsoft.com/office/drawing/2014/main" id="{A9A6148C-D45B-4AA1-8774-581C98E37C36}"/>
                  </a:ext>
                </a:extLst>
              </p:cNvPr>
              <p:cNvSpPr/>
              <p:nvPr/>
            </p:nvSpPr>
            <p:spPr>
              <a:xfrm>
                <a:off x="9725055" y="33758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ijl: punthaak 14">
                <a:extLst>
                  <a:ext uri="{FF2B5EF4-FFF2-40B4-BE49-F238E27FC236}">
                    <a16:creationId xmlns:a16="http://schemas.microsoft.com/office/drawing/2014/main" id="{F4618D96-F5CD-4275-8D8B-BFEBC282373F}"/>
                  </a:ext>
                </a:extLst>
              </p:cNvPr>
              <p:cNvSpPr txBox="1"/>
              <p:nvPr/>
            </p:nvSpPr>
            <p:spPr>
              <a:xfrm>
                <a:off x="10183450" y="33758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Cloudstrategie volledig gerealiseerd</a:t>
                </a:r>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Infrastructuur</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1011312"/>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Arial" panose="020B0604020202020204" pitchFamily="34" charset="0"/>
                        <a:buNone/>
                      </a:pPr>
                      <a:r>
                        <a:rPr lang="nl-NL" sz="1100"/>
                        <a:t>Cloudstrategie vastgesteld</a:t>
                      </a:r>
                    </a:p>
                  </a:txBody>
                  <a:tcPr/>
                </a:tc>
                <a:tc>
                  <a:txBody>
                    <a:bodyPr/>
                    <a:lstStyle/>
                    <a:p>
                      <a:r>
                        <a:rPr lang="nl-NL" sz="1100"/>
                        <a:t>Prioritering in backlog architectuurteam</a:t>
                      </a:r>
                    </a:p>
                  </a:txBody>
                  <a:tcPr/>
                </a:tc>
                <a:tc>
                  <a:txBody>
                    <a:bodyPr/>
                    <a:lstStyle/>
                    <a:p>
                      <a:r>
                        <a:rPr lang="nl-NL" sz="1100"/>
                        <a:t>N.v.t.</a:t>
                      </a:r>
                    </a:p>
                  </a:txBody>
                  <a:tcPr/>
                </a:tc>
                <a:tc>
                  <a:txBody>
                    <a:bodyPr/>
                    <a:lstStyle/>
                    <a:p>
                      <a:r>
                        <a:rPr lang="nl-NL" sz="1100"/>
                        <a:t>Mogelijk andere prioriteiten</a:t>
                      </a:r>
                    </a:p>
                    <a:p>
                      <a:r>
                        <a:rPr lang="nl-NL" sz="1100"/>
                        <a:t>Mogelijk eerder relevant dan beschikbaar</a:t>
                      </a:r>
                    </a:p>
                  </a:txBody>
                  <a:tcPr/>
                </a:tc>
                <a:extLst>
                  <a:ext uri="{0D108BD9-81ED-4DB2-BD59-A6C34878D82A}">
                    <a16:rowId xmlns:a16="http://schemas.microsoft.com/office/drawing/2014/main" val="2315363676"/>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50" name="Tekstvak 49">
            <a:extLst>
              <a:ext uri="{FF2B5EF4-FFF2-40B4-BE49-F238E27FC236}">
                <a16:creationId xmlns:a16="http://schemas.microsoft.com/office/drawing/2014/main" id="{1BD3BC0E-1BB0-4816-BEB4-5655B40A2D36}"/>
              </a:ext>
            </a:extLst>
          </p:cNvPr>
          <p:cNvSpPr txBox="1"/>
          <p:nvPr/>
        </p:nvSpPr>
        <p:spPr>
          <a:xfrm>
            <a:off x="502901" y="4380921"/>
            <a:ext cx="11186191" cy="769441"/>
          </a:xfrm>
          <a:prstGeom prst="rect">
            <a:avLst/>
          </a:prstGeom>
          <a:noFill/>
        </p:spPr>
        <p:txBody>
          <a:bodyPr wrap="square" rtlCol="0">
            <a:spAutoFit/>
          </a:bodyPr>
          <a:lstStyle/>
          <a:p>
            <a:r>
              <a:rPr lang="nl-NL" sz="1100" b="1">
                <a:solidFill>
                  <a:srgbClr val="C00000"/>
                </a:solidFill>
                <a:latin typeface="+mn-lt"/>
              </a:rPr>
              <a:t>Toelichting</a:t>
            </a:r>
          </a:p>
          <a:p>
            <a:pPr lvl="0" fontAlgn="auto">
              <a:spcBef>
                <a:spcPts val="0"/>
              </a:spcBef>
              <a:spcAft>
                <a:spcPts val="0"/>
              </a:spcAft>
              <a:defRPr/>
            </a:pPr>
            <a:r>
              <a:rPr lang="nl-NL" sz="1100" kern="1200">
                <a:solidFill>
                  <a:schemeClr val="dk1"/>
                </a:solidFill>
                <a:latin typeface="+mn-lt"/>
                <a:ea typeface="+mn-ea"/>
                <a:cs typeface="+mn-cs"/>
              </a:rPr>
              <a:t>De Raad </a:t>
            </a:r>
            <a:r>
              <a:rPr lang="nl-NL" sz="1100">
                <a:solidFill>
                  <a:schemeClr val="dk1"/>
                </a:solidFill>
                <a:latin typeface="+mn-lt"/>
              </a:rPr>
              <a:t>maakt voor dienstverlening in de kantoorautomatisering en het datacenter gebruik </a:t>
            </a:r>
            <a:r>
              <a:rPr lang="nl-NL" sz="1100" kern="1200">
                <a:solidFill>
                  <a:schemeClr val="dk1"/>
                </a:solidFill>
                <a:latin typeface="+mn-lt"/>
                <a:ea typeface="+mn-ea"/>
                <a:cs typeface="+mn-cs"/>
              </a:rPr>
              <a:t>van </a:t>
            </a:r>
            <a:r>
              <a:rPr lang="nl-NL" sz="1100" kern="1200" err="1">
                <a:solidFill>
                  <a:schemeClr val="dk1"/>
                </a:solidFill>
                <a:latin typeface="+mn-lt"/>
                <a:ea typeface="+mn-ea"/>
                <a:cs typeface="+mn-cs"/>
              </a:rPr>
              <a:t>cloudtechnologie</a:t>
            </a:r>
            <a:r>
              <a:rPr lang="nl-NL" sz="1100" kern="1200">
                <a:solidFill>
                  <a:schemeClr val="dk1"/>
                </a:solidFill>
                <a:latin typeface="+mn-lt"/>
                <a:ea typeface="+mn-ea"/>
                <a:cs typeface="+mn-cs"/>
              </a:rPr>
              <a:t> op basis van virtualisatie en private </a:t>
            </a:r>
            <a:r>
              <a:rPr lang="nl-NL" sz="1100" kern="1200" err="1">
                <a:solidFill>
                  <a:schemeClr val="dk1"/>
                </a:solidFill>
                <a:latin typeface="+mn-lt"/>
                <a:ea typeface="+mn-ea"/>
                <a:cs typeface="+mn-cs"/>
              </a:rPr>
              <a:t>cloud</a:t>
            </a:r>
            <a:r>
              <a:rPr lang="nl-NL" sz="1100" kern="1200">
                <a:solidFill>
                  <a:schemeClr val="dk1"/>
                </a:solidFill>
                <a:latin typeface="+mn-lt"/>
                <a:ea typeface="+mn-ea"/>
                <a:cs typeface="+mn-cs"/>
              </a:rPr>
              <a:t> technologie. Door middel van een </a:t>
            </a:r>
            <a:r>
              <a:rPr lang="nl-NL" sz="1100" kern="1200" err="1">
                <a:solidFill>
                  <a:schemeClr val="dk1"/>
                </a:solidFill>
                <a:latin typeface="+mn-lt"/>
                <a:ea typeface="+mn-ea"/>
                <a:cs typeface="+mn-cs"/>
              </a:rPr>
              <a:t>cloudstrategie</a:t>
            </a:r>
            <a:r>
              <a:rPr lang="nl-NL" sz="1100" kern="1200">
                <a:solidFill>
                  <a:schemeClr val="dk1"/>
                </a:solidFill>
                <a:latin typeface="+mn-lt"/>
                <a:ea typeface="+mn-ea"/>
                <a:cs typeface="+mn-cs"/>
              </a:rPr>
              <a:t> wordt het inzichtelijk of en in hoeverre gebruik gemaakt kan worden van public </a:t>
            </a:r>
            <a:r>
              <a:rPr lang="nl-NL" sz="1100" kern="1200" err="1">
                <a:solidFill>
                  <a:schemeClr val="dk1"/>
                </a:solidFill>
                <a:latin typeface="+mn-lt"/>
                <a:ea typeface="+mn-ea"/>
                <a:cs typeface="+mn-cs"/>
              </a:rPr>
              <a:t>cloud</a:t>
            </a:r>
            <a:r>
              <a:rPr lang="nl-NL" sz="1100" kern="1200">
                <a:solidFill>
                  <a:schemeClr val="dk1"/>
                </a:solidFill>
                <a:latin typeface="+mn-lt"/>
                <a:ea typeface="+mn-ea"/>
                <a:cs typeface="+mn-cs"/>
              </a:rPr>
              <a:t> dienstverlening en kan het architectuurteam hiermee aan de slag. Hierbij ligt de scope op de vernieuwing van het applicatielandschap.</a:t>
            </a:r>
          </a:p>
        </p:txBody>
      </p:sp>
      <p:graphicFrame>
        <p:nvGraphicFramePr>
          <p:cNvPr id="48" name="Diagram 47">
            <a:extLst>
              <a:ext uri="{FF2B5EF4-FFF2-40B4-BE49-F238E27FC236}">
                <a16:creationId xmlns:a16="http://schemas.microsoft.com/office/drawing/2014/main" id="{C9281AF7-35DA-43FC-B04B-B9AFC592C426}"/>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1220755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40"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5" name="Groep 4">
            <a:extLst>
              <a:ext uri="{FF2B5EF4-FFF2-40B4-BE49-F238E27FC236}">
                <a16:creationId xmlns:a16="http://schemas.microsoft.com/office/drawing/2014/main" id="{223F0D51-9423-459E-BBD7-CEF53C68801D}"/>
              </a:ext>
            </a:extLst>
          </p:cNvPr>
          <p:cNvGrpSpPr/>
          <p:nvPr/>
        </p:nvGrpSpPr>
        <p:grpSpPr>
          <a:xfrm>
            <a:off x="92140" y="1414252"/>
            <a:ext cx="12007713" cy="919736"/>
            <a:chOff x="92143" y="2969132"/>
            <a:chExt cx="12007713" cy="919736"/>
          </a:xfrm>
        </p:grpSpPr>
        <p:grpSp>
          <p:nvGrpSpPr>
            <p:cNvPr id="28" name="Groep 27">
              <a:extLst>
                <a:ext uri="{FF2B5EF4-FFF2-40B4-BE49-F238E27FC236}">
                  <a16:creationId xmlns:a16="http://schemas.microsoft.com/office/drawing/2014/main" id="{87F41E66-3A11-4981-B54C-99C292F1E267}"/>
                </a:ext>
              </a:extLst>
            </p:cNvPr>
            <p:cNvGrpSpPr/>
            <p:nvPr/>
          </p:nvGrpSpPr>
          <p:grpSpPr>
            <a:xfrm>
              <a:off x="92143" y="2969132"/>
              <a:ext cx="1936184" cy="919736"/>
              <a:chOff x="2588" y="4422913"/>
              <a:chExt cx="1936184" cy="919736"/>
            </a:xfrm>
          </p:grpSpPr>
          <p:sp>
            <p:nvSpPr>
              <p:cNvPr id="44" name="Pijl: punthaak 43">
                <a:extLst>
                  <a:ext uri="{FF2B5EF4-FFF2-40B4-BE49-F238E27FC236}">
                    <a16:creationId xmlns:a16="http://schemas.microsoft.com/office/drawing/2014/main" id="{8C574D5E-8BC5-4BDD-BFC7-C1B2205FE0A8}"/>
                  </a:ext>
                </a:extLst>
              </p:cNvPr>
              <p:cNvSpPr/>
              <p:nvPr/>
            </p:nvSpPr>
            <p:spPr>
              <a:xfrm>
                <a:off x="2588" y="4422913"/>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5" name="Pijl: punthaak 4">
                <a:extLst>
                  <a:ext uri="{FF2B5EF4-FFF2-40B4-BE49-F238E27FC236}">
                    <a16:creationId xmlns:a16="http://schemas.microsoft.com/office/drawing/2014/main" id="{3C616422-EE9E-4A3D-AAAB-A2CAA15CD7EF}"/>
                  </a:ext>
                </a:extLst>
              </p:cNvPr>
              <p:cNvSpPr txBox="1"/>
              <p:nvPr/>
            </p:nvSpPr>
            <p:spPr>
              <a:xfrm>
                <a:off x="462456" y="4422913"/>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Werkplek-beheer</a:t>
                </a:r>
              </a:p>
            </p:txBody>
          </p:sp>
        </p:grpSp>
        <p:grpSp>
          <p:nvGrpSpPr>
            <p:cNvPr id="29" name="Groep 28">
              <a:extLst>
                <a:ext uri="{FF2B5EF4-FFF2-40B4-BE49-F238E27FC236}">
                  <a16:creationId xmlns:a16="http://schemas.microsoft.com/office/drawing/2014/main" id="{CECC331F-FDED-43A5-8730-12C66249F4A4}"/>
                </a:ext>
              </a:extLst>
            </p:cNvPr>
            <p:cNvGrpSpPr/>
            <p:nvPr/>
          </p:nvGrpSpPr>
          <p:grpSpPr>
            <a:xfrm>
              <a:off x="1729413" y="2970609"/>
              <a:ext cx="2287835" cy="916783"/>
              <a:chOff x="1639858" y="4424390"/>
              <a:chExt cx="2287835" cy="916783"/>
            </a:xfrm>
          </p:grpSpPr>
          <p:sp>
            <p:nvSpPr>
              <p:cNvPr id="42" name="Pijl: punthaak 41">
                <a:extLst>
                  <a:ext uri="{FF2B5EF4-FFF2-40B4-BE49-F238E27FC236}">
                    <a16:creationId xmlns:a16="http://schemas.microsoft.com/office/drawing/2014/main" id="{50F4755D-C3BD-43D0-9CAE-A1568B551D1D}"/>
                  </a:ext>
                </a:extLst>
              </p:cNvPr>
              <p:cNvSpPr/>
              <p:nvPr/>
            </p:nvSpPr>
            <p:spPr>
              <a:xfrm>
                <a:off x="1639858" y="4424390"/>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3" name="Pijl: punthaak 6">
                <a:extLst>
                  <a:ext uri="{FF2B5EF4-FFF2-40B4-BE49-F238E27FC236}">
                    <a16:creationId xmlns:a16="http://schemas.microsoft.com/office/drawing/2014/main" id="{F61E2CB5-EC4C-4DE0-AFC3-CAF1F2B7C89D}"/>
                  </a:ext>
                </a:extLst>
              </p:cNvPr>
              <p:cNvSpPr txBox="1"/>
              <p:nvPr/>
            </p:nvSpPr>
            <p:spPr>
              <a:xfrm>
                <a:off x="2098250" y="4424390"/>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a:r>
                  <a:rPr lang="nl-NL" sz="900"/>
                  <a:t>Telefonie opnieuw aanbesteden en inrichten</a:t>
                </a:r>
              </a:p>
              <a:p>
                <a:pPr lvl="0" algn="ctr"/>
                <a:r>
                  <a:rPr lang="nl-NL" sz="900"/>
                  <a:t>MDM opstarten en inrichten</a:t>
                </a:r>
              </a:p>
              <a:p>
                <a:pPr lvl="0" algn="ctr"/>
                <a:r>
                  <a:rPr lang="nl-NL" sz="900"/>
                  <a:t>Start visie op ‘werkplek van de toekomst’</a:t>
                </a:r>
              </a:p>
            </p:txBody>
          </p:sp>
        </p:grpSp>
        <p:grpSp>
          <p:nvGrpSpPr>
            <p:cNvPr id="30" name="Groep 29">
              <a:extLst>
                <a:ext uri="{FF2B5EF4-FFF2-40B4-BE49-F238E27FC236}">
                  <a16:creationId xmlns:a16="http://schemas.microsoft.com/office/drawing/2014/main" id="{FDDF0283-88DF-4312-A052-4AE70C21FBCD}"/>
                </a:ext>
              </a:extLst>
            </p:cNvPr>
            <p:cNvGrpSpPr/>
            <p:nvPr/>
          </p:nvGrpSpPr>
          <p:grpSpPr>
            <a:xfrm>
              <a:off x="3750065" y="2970605"/>
              <a:ext cx="2287835" cy="916790"/>
              <a:chOff x="3660510" y="4424386"/>
              <a:chExt cx="2287835" cy="916790"/>
            </a:xfrm>
          </p:grpSpPr>
          <p:sp>
            <p:nvSpPr>
              <p:cNvPr id="40" name="Pijl: punthaak 39">
                <a:extLst>
                  <a:ext uri="{FF2B5EF4-FFF2-40B4-BE49-F238E27FC236}">
                    <a16:creationId xmlns:a16="http://schemas.microsoft.com/office/drawing/2014/main" id="{3A6AA1FA-6219-4BCF-8CD1-49B6306C6444}"/>
                  </a:ext>
                </a:extLst>
              </p:cNvPr>
              <p:cNvSpPr/>
              <p:nvPr/>
            </p:nvSpPr>
            <p:spPr>
              <a:xfrm>
                <a:off x="3660510"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ijl: punthaak 8">
                <a:extLst>
                  <a:ext uri="{FF2B5EF4-FFF2-40B4-BE49-F238E27FC236}">
                    <a16:creationId xmlns:a16="http://schemas.microsoft.com/office/drawing/2014/main" id="{557F55CF-BC0E-4FE1-958F-28009EDB4138}"/>
                  </a:ext>
                </a:extLst>
              </p:cNvPr>
              <p:cNvSpPr txBox="1"/>
              <p:nvPr/>
            </p:nvSpPr>
            <p:spPr>
              <a:xfrm>
                <a:off x="4118905"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 rIns="0" bIns="5715" numCol="1" spcCol="1270" anchor="ctr" anchorCtr="0">
                <a:noAutofit/>
              </a:bodyPr>
              <a:lstStyle/>
              <a:p>
                <a:pPr lvl="0" algn="ctr">
                  <a:spcAft>
                    <a:spcPts val="600"/>
                  </a:spcAft>
                </a:pPr>
                <a:r>
                  <a:rPr lang="nl-NL" sz="900"/>
                  <a:t>Implementatie nieuwe telefonieleverancier</a:t>
                </a:r>
              </a:p>
              <a:p>
                <a:pPr lvl="0" algn="ctr">
                  <a:spcAft>
                    <a:spcPts val="600"/>
                  </a:spcAft>
                </a:pPr>
                <a:r>
                  <a:rPr lang="nl-NL" sz="900"/>
                  <a:t>Visie ‘Werkplek van de toekomst’ rond</a:t>
                </a:r>
              </a:p>
            </p:txBody>
          </p:sp>
        </p:grpSp>
        <p:grpSp>
          <p:nvGrpSpPr>
            <p:cNvPr id="31" name="Groep 30">
              <a:extLst>
                <a:ext uri="{FF2B5EF4-FFF2-40B4-BE49-F238E27FC236}">
                  <a16:creationId xmlns:a16="http://schemas.microsoft.com/office/drawing/2014/main" id="{D615D19E-2B85-41CC-B09D-C3227C2CB4CC}"/>
                </a:ext>
              </a:extLst>
            </p:cNvPr>
            <p:cNvGrpSpPr/>
            <p:nvPr/>
          </p:nvGrpSpPr>
          <p:grpSpPr>
            <a:xfrm>
              <a:off x="5770717" y="2970605"/>
              <a:ext cx="2287835" cy="916790"/>
              <a:chOff x="5681162" y="4424386"/>
              <a:chExt cx="2287835" cy="916790"/>
            </a:xfrm>
          </p:grpSpPr>
          <p:sp>
            <p:nvSpPr>
              <p:cNvPr id="38" name="Pijl: punthaak 37">
                <a:extLst>
                  <a:ext uri="{FF2B5EF4-FFF2-40B4-BE49-F238E27FC236}">
                    <a16:creationId xmlns:a16="http://schemas.microsoft.com/office/drawing/2014/main" id="{25675979-9AD1-4F24-B328-856B295736F0}"/>
                  </a:ext>
                </a:extLst>
              </p:cNvPr>
              <p:cNvSpPr/>
              <p:nvPr/>
            </p:nvSpPr>
            <p:spPr>
              <a:xfrm>
                <a:off x="5681162"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ijl: punthaak 10">
                <a:extLst>
                  <a:ext uri="{FF2B5EF4-FFF2-40B4-BE49-F238E27FC236}">
                    <a16:creationId xmlns:a16="http://schemas.microsoft.com/office/drawing/2014/main" id="{9A1ECF12-284E-417B-83B2-66E56B12B6A1}"/>
                  </a:ext>
                </a:extLst>
              </p:cNvPr>
              <p:cNvSpPr txBox="1"/>
              <p:nvPr/>
            </p:nvSpPr>
            <p:spPr>
              <a:xfrm>
                <a:off x="6139557"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lvl="0" algn="ctr"/>
                <a:r>
                  <a:rPr lang="nl-NL" sz="900"/>
                  <a:t>Werkplek van de toekomst implementeren</a:t>
                </a:r>
              </a:p>
            </p:txBody>
          </p:sp>
        </p:grpSp>
        <p:grpSp>
          <p:nvGrpSpPr>
            <p:cNvPr id="32" name="Groep 31">
              <a:extLst>
                <a:ext uri="{FF2B5EF4-FFF2-40B4-BE49-F238E27FC236}">
                  <a16:creationId xmlns:a16="http://schemas.microsoft.com/office/drawing/2014/main" id="{22661695-DEE2-46C6-BA00-1179FD9F930A}"/>
                </a:ext>
              </a:extLst>
            </p:cNvPr>
            <p:cNvGrpSpPr/>
            <p:nvPr/>
          </p:nvGrpSpPr>
          <p:grpSpPr>
            <a:xfrm>
              <a:off x="7791369" y="2970605"/>
              <a:ext cx="2287835" cy="916790"/>
              <a:chOff x="7701814" y="4424386"/>
              <a:chExt cx="2287835" cy="916790"/>
            </a:xfrm>
          </p:grpSpPr>
          <p:sp>
            <p:nvSpPr>
              <p:cNvPr id="36" name="Pijl: punthaak 35">
                <a:extLst>
                  <a:ext uri="{FF2B5EF4-FFF2-40B4-BE49-F238E27FC236}">
                    <a16:creationId xmlns:a16="http://schemas.microsoft.com/office/drawing/2014/main" id="{ADA5EFEC-0C2C-4E84-A345-0C1718195698}"/>
                  </a:ext>
                </a:extLst>
              </p:cNvPr>
              <p:cNvSpPr/>
              <p:nvPr/>
            </p:nvSpPr>
            <p:spPr>
              <a:xfrm>
                <a:off x="7701814"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ijl: punthaak 12">
                <a:extLst>
                  <a:ext uri="{FF2B5EF4-FFF2-40B4-BE49-F238E27FC236}">
                    <a16:creationId xmlns:a16="http://schemas.microsoft.com/office/drawing/2014/main" id="{6BB4772B-CC36-45DC-8F2D-81ADCA90079A}"/>
                  </a:ext>
                </a:extLst>
              </p:cNvPr>
              <p:cNvSpPr txBox="1"/>
              <p:nvPr/>
            </p:nvSpPr>
            <p:spPr>
              <a:xfrm>
                <a:off x="8160209"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a:t>Werkplek van de toekomst implementeren</a:t>
                </a:r>
              </a:p>
            </p:txBody>
          </p:sp>
        </p:grpSp>
        <p:grpSp>
          <p:nvGrpSpPr>
            <p:cNvPr id="33" name="Groep 32">
              <a:extLst>
                <a:ext uri="{FF2B5EF4-FFF2-40B4-BE49-F238E27FC236}">
                  <a16:creationId xmlns:a16="http://schemas.microsoft.com/office/drawing/2014/main" id="{6561A290-A6F0-424E-94DC-C0036CCE4CE6}"/>
                </a:ext>
              </a:extLst>
            </p:cNvPr>
            <p:cNvGrpSpPr/>
            <p:nvPr/>
          </p:nvGrpSpPr>
          <p:grpSpPr>
            <a:xfrm>
              <a:off x="9812021" y="2970605"/>
              <a:ext cx="2287835" cy="916790"/>
              <a:chOff x="9722466" y="4424386"/>
              <a:chExt cx="2287835" cy="916790"/>
            </a:xfrm>
          </p:grpSpPr>
          <p:sp>
            <p:nvSpPr>
              <p:cNvPr id="34" name="Pijl: punthaak 33">
                <a:extLst>
                  <a:ext uri="{FF2B5EF4-FFF2-40B4-BE49-F238E27FC236}">
                    <a16:creationId xmlns:a16="http://schemas.microsoft.com/office/drawing/2014/main" id="{90DE67E3-E9BA-44B3-9BE8-33CC34E70DA4}"/>
                  </a:ext>
                </a:extLst>
              </p:cNvPr>
              <p:cNvSpPr/>
              <p:nvPr/>
            </p:nvSpPr>
            <p:spPr>
              <a:xfrm>
                <a:off x="9722466" y="4424386"/>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ijl: punthaak 14">
                <a:extLst>
                  <a:ext uri="{FF2B5EF4-FFF2-40B4-BE49-F238E27FC236}">
                    <a16:creationId xmlns:a16="http://schemas.microsoft.com/office/drawing/2014/main" id="{FA9F1DFE-F9AE-435E-8394-847024D7B671}"/>
                  </a:ext>
                </a:extLst>
              </p:cNvPr>
              <p:cNvSpPr txBox="1"/>
              <p:nvPr/>
            </p:nvSpPr>
            <p:spPr>
              <a:xfrm>
                <a:off x="10180861" y="4424386"/>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a:t>Werkplek van de toekomst implementeren</a:t>
                </a:r>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58500"/>
            <a:ext cx="11160000" cy="1143000"/>
          </a:xfrm>
        </p:spPr>
        <p:txBody>
          <a:bodyPr/>
          <a:lstStyle/>
          <a:p>
            <a:r>
              <a:rPr lang="nl-NL">
                <a:solidFill>
                  <a:srgbClr val="C00000"/>
                </a:solidFill>
              </a:rPr>
              <a:t>Werkplekbeheer</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extLst>
              <p:ext uri="{D42A27DB-BD31-4B8C-83A1-F6EECF244321}">
                <p14:modId xmlns:p14="http://schemas.microsoft.com/office/powerpoint/2010/main" val="2739584452"/>
              </p:ext>
            </p:extLst>
          </p:nvPr>
        </p:nvGraphicFramePr>
        <p:xfrm>
          <a:off x="516000" y="2758500"/>
          <a:ext cx="11160000" cy="2213709"/>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Arial" panose="020B0604020202020204" pitchFamily="34" charset="0"/>
                        <a:buNone/>
                      </a:pPr>
                      <a:r>
                        <a:rPr lang="nl-NL" sz="1100"/>
                        <a:t>Telefonie opnieuw aanbested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Uitvoeren Europese Aanbesteding Telefonie</a:t>
                      </a:r>
                    </a:p>
                  </a:txBody>
                  <a:tcPr/>
                </a:tc>
                <a:tc>
                  <a:txBody>
                    <a:bodyPr/>
                    <a:lstStyle/>
                    <a:p>
                      <a:r>
                        <a:rPr lang="nl-NL" sz="1100"/>
                        <a:t>N.v.t.</a:t>
                      </a:r>
                    </a:p>
                  </a:txBody>
                  <a:tcPr/>
                </a:tc>
                <a:tc>
                  <a:txBody>
                    <a:bodyPr/>
                    <a:lstStyle/>
                    <a:p>
                      <a:r>
                        <a:rPr lang="nl-NL" sz="1100"/>
                        <a:t>Visievorming op de werkplek volgt een jaar later</a:t>
                      </a:r>
                    </a:p>
                    <a:p>
                      <a:r>
                        <a:rPr lang="nl-NL" sz="1100"/>
                        <a:t>Vertraging op de EA leidt tot onrechtmatigheid</a:t>
                      </a:r>
                    </a:p>
                  </a:txBody>
                  <a:tcPr/>
                </a:tc>
                <a:extLst>
                  <a:ext uri="{0D108BD9-81ED-4DB2-BD59-A6C34878D82A}">
                    <a16:rowId xmlns:a16="http://schemas.microsoft.com/office/drawing/2014/main" val="2315363676"/>
                  </a:ext>
                </a:extLst>
              </a:tr>
              <a:tr h="440397">
                <a:tc>
                  <a:txBody>
                    <a:bodyPr/>
                    <a:lstStyle/>
                    <a:p>
                      <a:pPr marL="0" indent="0">
                        <a:buFont typeface="Arial" panose="020B0604020202020204" pitchFamily="34" charset="0"/>
                        <a:buNone/>
                      </a:pPr>
                      <a:r>
                        <a:rPr lang="nl-NL" sz="1100"/>
                        <a:t>MDM opstarten en inricht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a:t>Regievoering vanuit KA team </a:t>
                      </a:r>
                    </a:p>
                  </a:txBody>
                  <a:tcPr/>
                </a:tc>
                <a:tc>
                  <a:txBody>
                    <a:bodyPr/>
                    <a:lstStyle/>
                    <a:p>
                      <a:endParaRPr lang="nl-NL" sz="1100" dirty="0"/>
                    </a:p>
                  </a:txBody>
                  <a:tcPr/>
                </a:tc>
                <a:tc>
                  <a:txBody>
                    <a:bodyPr/>
                    <a:lstStyle/>
                    <a:p>
                      <a:endParaRPr lang="nl-NL" sz="1100"/>
                    </a:p>
                  </a:txBody>
                  <a:tcPr/>
                </a:tc>
                <a:extLst>
                  <a:ext uri="{0D108BD9-81ED-4DB2-BD59-A6C34878D82A}">
                    <a16:rowId xmlns:a16="http://schemas.microsoft.com/office/drawing/2014/main" val="3724957451"/>
                  </a:ext>
                </a:extLst>
              </a:tr>
              <a:tr h="440397">
                <a:tc>
                  <a:txBody>
                    <a:bodyPr/>
                    <a:lstStyle/>
                    <a:p>
                      <a:pPr marL="0" indent="0">
                        <a:buFont typeface="Arial" panose="020B0604020202020204" pitchFamily="34" charset="0"/>
                        <a:buNone/>
                      </a:pPr>
                      <a:r>
                        <a:rPr lang="nl-NL" sz="1100"/>
                        <a:t>Start visie op ‘werkplek van de toekom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a:t>Aansluiten bij traject ‘het nieuwe werken’ en regievoering vanuit KA team</a:t>
                      </a:r>
                    </a:p>
                  </a:txBody>
                  <a:tcPr/>
                </a:tc>
                <a:tc>
                  <a:txBody>
                    <a:bodyPr/>
                    <a:lstStyle/>
                    <a:p>
                      <a:endParaRPr lang="nl-NL" sz="1100" dirty="0"/>
                    </a:p>
                  </a:txBody>
                  <a:tcPr/>
                </a:tc>
                <a:tc>
                  <a:txBody>
                    <a:bodyPr/>
                    <a:lstStyle/>
                    <a:p>
                      <a:endParaRPr lang="nl-NL" sz="1100" dirty="0"/>
                    </a:p>
                  </a:txBody>
                  <a:tcPr/>
                </a:tc>
                <a:extLst>
                  <a:ext uri="{0D108BD9-81ED-4DB2-BD59-A6C34878D82A}">
                    <a16:rowId xmlns:a16="http://schemas.microsoft.com/office/drawing/2014/main" val="3102071438"/>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1443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50" name="Tekstvak 49">
            <a:extLst>
              <a:ext uri="{FF2B5EF4-FFF2-40B4-BE49-F238E27FC236}">
                <a16:creationId xmlns:a16="http://schemas.microsoft.com/office/drawing/2014/main" id="{DC1D78A3-9E49-4CC3-866F-7FCFEEE0D234}"/>
              </a:ext>
            </a:extLst>
          </p:cNvPr>
          <p:cNvSpPr txBox="1"/>
          <p:nvPr/>
        </p:nvSpPr>
        <p:spPr>
          <a:xfrm>
            <a:off x="516000" y="4972209"/>
            <a:ext cx="11186191" cy="1107996"/>
          </a:xfrm>
          <a:prstGeom prst="rect">
            <a:avLst/>
          </a:prstGeom>
          <a:noFill/>
        </p:spPr>
        <p:txBody>
          <a:bodyPr wrap="square" rtlCol="0">
            <a:spAutoFit/>
          </a:bodyPr>
          <a:lstStyle/>
          <a:p>
            <a:r>
              <a:rPr lang="nl-NL" sz="1100" b="1" dirty="0">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dirty="0">
                <a:latin typeface="+mn-lt"/>
              </a:rPr>
              <a:t>Het doel van het uitvoeren van de Europese Aanbesteding voor telefonie is het verbeteren van de integratie tussen werkplek en telefonie. Ook wordt Mobile Device Management (MDM) opgestart en ingericht om zo vaste en mobiele telefoons te integreren. Verder wordt in 2020 gestart met het vormen van een visie op de werkplek van de toekomst. De visie op de werkplek van de toekomst zal waarschijnlijk worden afgerond in 2021. Hierbij mag het risico niet genegeerd worden dat de visie op de werkplek van de toekomst niet aansluit op de aanbesteding voor mobiele telefonie. Deze trajecten zijn met elkaar verweven.</a:t>
            </a:r>
          </a:p>
        </p:txBody>
      </p:sp>
      <p:graphicFrame>
        <p:nvGraphicFramePr>
          <p:cNvPr id="48" name="Diagram 47">
            <a:extLst>
              <a:ext uri="{FF2B5EF4-FFF2-40B4-BE49-F238E27FC236}">
                <a16:creationId xmlns:a16="http://schemas.microsoft.com/office/drawing/2014/main" id="{740CA919-0454-463A-AF61-697CA1E15054}"/>
              </a:ext>
            </a:extLst>
          </p:cNvPr>
          <p:cNvGraphicFramePr/>
          <p:nvPr/>
        </p:nvGraphicFramePr>
        <p:xfrm>
          <a:off x="0" y="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849821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CC313C-2913-45A4-84E8-99B9D6A6C38A}"/>
              </a:ext>
            </a:extLst>
          </p:cNvPr>
          <p:cNvGraphicFramePr>
            <a:graphicFrameLocks noChangeAspect="1"/>
          </p:cNvGraphicFramePr>
          <p:nvPr>
            <p:custDataLst>
              <p:tags r:id="rId2"/>
            </p:custDataLst>
            <p:extLst>
              <p:ext uri="{D42A27DB-BD31-4B8C-83A1-F6EECF244321}">
                <p14:modId xmlns:p14="http://schemas.microsoft.com/office/powerpoint/2010/main" val="402924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FDCC313C-2913-45A4-84E8-99B9D6A6C3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FCE16FC5-C5DB-4B9C-9D32-C4FEE64534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50214244-5ADF-4011-8437-402BB44831C4}"/>
              </a:ext>
            </a:extLst>
          </p:cNvPr>
          <p:cNvSpPr>
            <a:spLocks noGrp="1"/>
          </p:cNvSpPr>
          <p:nvPr>
            <p:ph type="title"/>
          </p:nvPr>
        </p:nvSpPr>
        <p:spPr/>
        <p:txBody>
          <a:bodyPr/>
          <a:lstStyle/>
          <a:p>
            <a:r>
              <a:rPr lang="nl-NL" sz="4000">
                <a:solidFill>
                  <a:srgbClr val="C00000"/>
                </a:solidFill>
              </a:rPr>
              <a:t>Missie en kernwaarden</a:t>
            </a:r>
            <a:r>
              <a:rPr lang="nl-NL">
                <a:solidFill>
                  <a:srgbClr val="C00000"/>
                </a:solidFill>
              </a:rPr>
              <a:t/>
            </a:r>
            <a:br>
              <a:rPr lang="nl-NL">
                <a:solidFill>
                  <a:srgbClr val="C00000"/>
                </a:solidFill>
              </a:rPr>
            </a:br>
            <a:r>
              <a:rPr lang="nl-NL" sz="2000">
                <a:solidFill>
                  <a:schemeClr val="tx1"/>
                </a:solidFill>
              </a:rPr>
              <a:t>In een wereld die om ons heen verandert, staat de burger altijd centraal</a:t>
            </a:r>
            <a:endParaRPr lang="nl-NL">
              <a:solidFill>
                <a:schemeClr val="tx1"/>
              </a:solidFill>
            </a:endParaRPr>
          </a:p>
        </p:txBody>
      </p:sp>
      <p:sp>
        <p:nvSpPr>
          <p:cNvPr id="8" name="Tijdelijke aanduiding voor inhoud 8">
            <a:extLst>
              <a:ext uri="{FF2B5EF4-FFF2-40B4-BE49-F238E27FC236}">
                <a16:creationId xmlns:a16="http://schemas.microsoft.com/office/drawing/2014/main" id="{E5AD9DE8-C388-4AF4-A85E-A0965301688C}"/>
              </a:ext>
            </a:extLst>
          </p:cNvPr>
          <p:cNvSpPr>
            <a:spLocks noGrp="1"/>
          </p:cNvSpPr>
          <p:nvPr>
            <p:ph sz="half" idx="2"/>
          </p:nvPr>
        </p:nvSpPr>
        <p:spPr>
          <a:xfrm>
            <a:off x="6212417" y="1230685"/>
            <a:ext cx="5384800" cy="2950618"/>
          </a:xfrm>
        </p:spPr>
        <p:txBody>
          <a:bodyPr/>
          <a:lstStyle/>
          <a:p>
            <a:pPr marL="0" indent="0">
              <a:buFontTx/>
              <a:buNone/>
            </a:pPr>
            <a:r>
              <a:rPr lang="nl-NL" altLang="nl-NL" sz="1600" dirty="0"/>
              <a:t>De Raad is in onze democratische </a:t>
            </a:r>
            <a:r>
              <a:rPr lang="nl-NL" altLang="nl-NL" sz="1600" dirty="0" smtClean="0"/>
              <a:t>rechtsstaat verantwoordelijk </a:t>
            </a:r>
            <a:r>
              <a:rPr lang="nl-NL" altLang="nl-NL" sz="1600" dirty="0"/>
              <a:t>voor </a:t>
            </a:r>
          </a:p>
          <a:p>
            <a:r>
              <a:rPr lang="nl-NL" altLang="nl-NL" sz="1600" dirty="0"/>
              <a:t>de </a:t>
            </a:r>
            <a:r>
              <a:rPr lang="nl-NL" altLang="nl-NL" sz="1600" b="1" dirty="0"/>
              <a:t>optimale organisatie</a:t>
            </a:r>
            <a:r>
              <a:rPr lang="nl-NL" altLang="nl-NL" sz="1600" dirty="0"/>
              <a:t> en het </a:t>
            </a:r>
            <a:r>
              <a:rPr lang="nl-NL" altLang="nl-NL" sz="1600" b="1" dirty="0"/>
              <a:t>borgen</a:t>
            </a:r>
            <a:r>
              <a:rPr lang="nl-NL" altLang="nl-NL" sz="1600" dirty="0"/>
              <a:t> van </a:t>
            </a:r>
            <a:r>
              <a:rPr lang="nl-NL" altLang="nl-NL" sz="1600" b="1" dirty="0"/>
              <a:t>goede gesubsidieerde rechtsbijstand </a:t>
            </a:r>
            <a:r>
              <a:rPr lang="nl-NL" altLang="nl-NL" sz="1600" dirty="0"/>
              <a:t>en </a:t>
            </a:r>
            <a:r>
              <a:rPr lang="nl-NL" altLang="nl-NL" sz="1600" b="1" dirty="0" err="1"/>
              <a:t>mediation</a:t>
            </a:r>
            <a:r>
              <a:rPr lang="nl-NL" altLang="nl-NL" sz="1600" dirty="0"/>
              <a:t> voor minder draagkrachtige burgers. </a:t>
            </a:r>
          </a:p>
          <a:p>
            <a:r>
              <a:rPr lang="nl-NL" altLang="nl-NL" sz="1600" dirty="0"/>
              <a:t>Daarnaast voert de Raad (een deel van) de </a:t>
            </a:r>
            <a:r>
              <a:rPr lang="nl-NL" altLang="nl-NL" sz="1600" b="1" dirty="0"/>
              <a:t>wettelijke schuldsanering </a:t>
            </a:r>
            <a:r>
              <a:rPr lang="nl-NL" altLang="nl-NL" sz="1600" dirty="0"/>
              <a:t>en de </a:t>
            </a:r>
            <a:r>
              <a:rPr lang="nl-NL" altLang="nl-NL" sz="1600" b="1" dirty="0"/>
              <a:t>Wet beëdigde tolken en vertalers</a:t>
            </a:r>
            <a:r>
              <a:rPr lang="nl-NL" altLang="nl-NL" sz="1600" dirty="0"/>
              <a:t> uit. </a:t>
            </a:r>
          </a:p>
        </p:txBody>
      </p:sp>
      <p:pic>
        <p:nvPicPr>
          <p:cNvPr id="7" name="Afbeelding 6" descr="Afbeelding met kamer&#10;&#10;Automatisch gegenereerde beschrijving">
            <a:extLst>
              <a:ext uri="{FF2B5EF4-FFF2-40B4-BE49-F238E27FC236}">
                <a16:creationId xmlns:a16="http://schemas.microsoft.com/office/drawing/2014/main" id="{C27320A0-9610-4724-A555-D1458F0DD8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79449" y="1693666"/>
            <a:ext cx="3576168" cy="3600000"/>
          </a:xfrm>
          <a:prstGeom prst="rect">
            <a:avLst/>
          </a:prstGeom>
        </p:spPr>
      </p:pic>
      <p:pic>
        <p:nvPicPr>
          <p:cNvPr id="10" name="Afbeelding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411403" y="4002810"/>
            <a:ext cx="2333625" cy="199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52738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2C6F83-C5C0-4A1A-923C-F9DD8D6E9F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4"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CA2C6F83-C5C0-4A1A-923C-F9DD8D6E9F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4E280407-1137-40DB-A116-33306B3CBF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11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63F76B54-6260-4B9C-97FA-A08565EBCC5F}"/>
              </a:ext>
            </a:extLst>
          </p:cNvPr>
          <p:cNvSpPr>
            <a:spLocks noGrp="1"/>
          </p:cNvSpPr>
          <p:nvPr>
            <p:ph type="title"/>
          </p:nvPr>
        </p:nvSpPr>
        <p:spPr/>
        <p:txBody>
          <a:bodyPr/>
          <a:lstStyle/>
          <a:p>
            <a:r>
              <a:rPr lang="nl-NL">
                <a:solidFill>
                  <a:srgbClr val="C00000"/>
                </a:solidFill>
              </a:rPr>
              <a:t>Vijfjarenplan | Data</a:t>
            </a:r>
            <a:br>
              <a:rPr lang="nl-NL">
                <a:solidFill>
                  <a:srgbClr val="C00000"/>
                </a:solidFill>
              </a:rPr>
            </a:br>
            <a:r>
              <a:rPr lang="nl-NL" sz="1100">
                <a:solidFill>
                  <a:srgbClr val="000000"/>
                </a:solidFill>
              </a:rPr>
              <a:t>In 2024 stelt de ICT de Raad in staat om een intern en extern kenniscentrum te kunnen zijn. Op basis hiervan is het intern mogelijk om </a:t>
            </a:r>
            <a:r>
              <a:rPr lang="nl-NL" sz="1100" err="1">
                <a:solidFill>
                  <a:srgbClr val="000000"/>
                </a:solidFill>
              </a:rPr>
              <a:t>datagedreven</a:t>
            </a:r>
            <a:r>
              <a:rPr lang="nl-NL" sz="1100">
                <a:solidFill>
                  <a:srgbClr val="000000"/>
                </a:solidFill>
              </a:rPr>
              <a:t> beslissingen te nemen en kunnen extern ketenpartners </a:t>
            </a:r>
            <a:r>
              <a:rPr lang="nl-NL" sz="1100" err="1">
                <a:solidFill>
                  <a:srgbClr val="000000"/>
                </a:solidFill>
              </a:rPr>
              <a:t>datagedreven</a:t>
            </a:r>
            <a:r>
              <a:rPr lang="nl-NL" sz="1100">
                <a:solidFill>
                  <a:srgbClr val="000000"/>
                </a:solidFill>
              </a:rPr>
              <a:t> geadviseerd worden.</a:t>
            </a:r>
            <a:endParaRPr lang="nl-NL" sz="1100">
              <a:solidFill>
                <a:schemeClr val="tx1"/>
              </a:solidFill>
            </a:endParaRPr>
          </a:p>
        </p:txBody>
      </p:sp>
      <p:graphicFrame>
        <p:nvGraphicFramePr>
          <p:cNvPr id="6" name="Diagram 5">
            <a:extLst>
              <a:ext uri="{FF2B5EF4-FFF2-40B4-BE49-F238E27FC236}">
                <a16:creationId xmlns:a16="http://schemas.microsoft.com/office/drawing/2014/main" id="{19AC7FAF-9763-46A0-9E33-645812FFAF13}"/>
              </a:ext>
            </a:extLst>
          </p:cNvPr>
          <p:cNvGraphicFramePr/>
          <p:nvPr>
            <p:extLst>
              <p:ext uri="{D42A27DB-BD31-4B8C-83A1-F6EECF244321}">
                <p14:modId xmlns:p14="http://schemas.microsoft.com/office/powerpoint/2010/main" val="3106135659"/>
              </p:ext>
            </p:extLst>
          </p:nvPr>
        </p:nvGraphicFramePr>
        <p:xfrm>
          <a:off x="89555" y="1143001"/>
          <a:ext cx="12012891" cy="4536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Tabel 6">
            <a:extLst>
              <a:ext uri="{FF2B5EF4-FFF2-40B4-BE49-F238E27FC236}">
                <a16:creationId xmlns:a16="http://schemas.microsoft.com/office/drawing/2014/main" id="{C2BA8DAD-CA23-4DFE-8D16-F12AFC07847E}"/>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Tree>
    <p:extLst>
      <p:ext uri="{BB962C8B-B14F-4D97-AF65-F5344CB8AC3E}">
        <p14:creationId xmlns:p14="http://schemas.microsoft.com/office/powerpoint/2010/main" val="33033118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8"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5" name="Groep 4">
            <a:extLst>
              <a:ext uri="{FF2B5EF4-FFF2-40B4-BE49-F238E27FC236}">
                <a16:creationId xmlns:a16="http://schemas.microsoft.com/office/drawing/2014/main" id="{14D46DC0-2515-41B9-A49A-EEDD87CC660F}"/>
              </a:ext>
            </a:extLst>
          </p:cNvPr>
          <p:cNvGrpSpPr/>
          <p:nvPr/>
        </p:nvGrpSpPr>
        <p:grpSpPr>
          <a:xfrm>
            <a:off x="92140" y="1355752"/>
            <a:ext cx="12007713" cy="919736"/>
            <a:chOff x="92143" y="2969132"/>
            <a:chExt cx="12007713" cy="919736"/>
          </a:xfrm>
        </p:grpSpPr>
        <p:grpSp>
          <p:nvGrpSpPr>
            <p:cNvPr id="28" name="Groep 27">
              <a:extLst>
                <a:ext uri="{FF2B5EF4-FFF2-40B4-BE49-F238E27FC236}">
                  <a16:creationId xmlns:a16="http://schemas.microsoft.com/office/drawing/2014/main" id="{E221354C-72BB-4C55-89EA-2D4EE681E9CA}"/>
                </a:ext>
              </a:extLst>
            </p:cNvPr>
            <p:cNvGrpSpPr/>
            <p:nvPr/>
          </p:nvGrpSpPr>
          <p:grpSpPr>
            <a:xfrm>
              <a:off x="92143" y="2969132"/>
              <a:ext cx="1936184" cy="919736"/>
              <a:chOff x="2588" y="235381"/>
              <a:chExt cx="1936184" cy="919736"/>
            </a:xfrm>
          </p:grpSpPr>
          <p:sp>
            <p:nvSpPr>
              <p:cNvPr id="44" name="Pijl: punthaak 43">
                <a:extLst>
                  <a:ext uri="{FF2B5EF4-FFF2-40B4-BE49-F238E27FC236}">
                    <a16:creationId xmlns:a16="http://schemas.microsoft.com/office/drawing/2014/main" id="{F35617A5-7451-44EC-9217-28614A2EB119}"/>
                  </a:ext>
                </a:extLst>
              </p:cNvPr>
              <p:cNvSpPr/>
              <p:nvPr/>
            </p:nvSpPr>
            <p:spPr>
              <a:xfrm>
                <a:off x="2588" y="235381"/>
                <a:ext cx="1936184" cy="919736"/>
              </a:xfrm>
              <a:prstGeom prst="chevron">
                <a:avLst/>
              </a:pr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5" name="Pijl: punthaak 4">
                <a:extLst>
                  <a:ext uri="{FF2B5EF4-FFF2-40B4-BE49-F238E27FC236}">
                    <a16:creationId xmlns:a16="http://schemas.microsoft.com/office/drawing/2014/main" id="{027DB6E8-3553-4C1A-BECD-CDF66A98E465}"/>
                  </a:ext>
                </a:extLst>
              </p:cNvPr>
              <p:cNvSpPr txBox="1"/>
              <p:nvPr/>
            </p:nvSpPr>
            <p:spPr>
              <a:xfrm>
                <a:off x="462456" y="235381"/>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Data-allianties</a:t>
                </a:r>
              </a:p>
            </p:txBody>
          </p:sp>
        </p:grpSp>
        <p:grpSp>
          <p:nvGrpSpPr>
            <p:cNvPr id="29" name="Groep 28">
              <a:extLst>
                <a:ext uri="{FF2B5EF4-FFF2-40B4-BE49-F238E27FC236}">
                  <a16:creationId xmlns:a16="http://schemas.microsoft.com/office/drawing/2014/main" id="{FA225554-E2B7-4BA1-BC16-B66B536771C1}"/>
                </a:ext>
              </a:extLst>
            </p:cNvPr>
            <p:cNvGrpSpPr/>
            <p:nvPr/>
          </p:nvGrpSpPr>
          <p:grpSpPr>
            <a:xfrm>
              <a:off x="1729413" y="2970609"/>
              <a:ext cx="2287835" cy="916783"/>
              <a:chOff x="1639858" y="236858"/>
              <a:chExt cx="2287835" cy="916783"/>
            </a:xfrm>
          </p:grpSpPr>
          <p:sp>
            <p:nvSpPr>
              <p:cNvPr id="42" name="Pijl: punthaak 41">
                <a:extLst>
                  <a:ext uri="{FF2B5EF4-FFF2-40B4-BE49-F238E27FC236}">
                    <a16:creationId xmlns:a16="http://schemas.microsoft.com/office/drawing/2014/main" id="{B66D03EF-7F0B-4F97-A05B-29E1C8BADFCC}"/>
                  </a:ext>
                </a:extLst>
              </p:cNvPr>
              <p:cNvSpPr/>
              <p:nvPr/>
            </p:nvSpPr>
            <p:spPr>
              <a:xfrm>
                <a:off x="1639858" y="236858"/>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3" name="Pijl: punthaak 6">
                <a:extLst>
                  <a:ext uri="{FF2B5EF4-FFF2-40B4-BE49-F238E27FC236}">
                    <a16:creationId xmlns:a16="http://schemas.microsoft.com/office/drawing/2014/main" id="{B3D35481-6CDD-4429-82EA-C00A6426A9CE}"/>
                  </a:ext>
                </a:extLst>
              </p:cNvPr>
              <p:cNvSpPr txBox="1"/>
              <p:nvPr/>
            </p:nvSpPr>
            <p:spPr>
              <a:xfrm>
                <a:off x="2098250" y="236858"/>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FontTx/>
                  <a:buNone/>
                </a:pPr>
                <a:r>
                  <a:rPr lang="nl-NL" sz="900" kern="1200" dirty="0"/>
                  <a:t>Voorwaarden opstellen voor data-allianties</a:t>
                </a:r>
              </a:p>
              <a:p>
                <a:pPr algn="ctr" defTabSz="400050">
                  <a:lnSpc>
                    <a:spcPct val="90000"/>
                  </a:lnSpc>
                  <a:spcAft>
                    <a:spcPct val="35000"/>
                  </a:spcAft>
                </a:pPr>
                <a:r>
                  <a:rPr lang="nl-NL" sz="900" dirty="0">
                    <a:solidFill>
                      <a:schemeClr val="tx1"/>
                    </a:solidFill>
                  </a:rPr>
                  <a:t>Datastrategie afspreken met ketenpartners</a:t>
                </a:r>
              </a:p>
              <a:p>
                <a:pPr algn="ctr" defTabSz="400050">
                  <a:lnSpc>
                    <a:spcPct val="90000"/>
                  </a:lnSpc>
                  <a:spcAft>
                    <a:spcPct val="35000"/>
                  </a:spcAft>
                </a:pPr>
                <a:r>
                  <a:rPr lang="nl-NL" sz="900" dirty="0">
                    <a:solidFill>
                      <a:schemeClr val="tx1"/>
                    </a:solidFill>
                  </a:rPr>
                  <a:t>Pilots data-allianties</a:t>
                </a:r>
              </a:p>
            </p:txBody>
          </p:sp>
        </p:grpSp>
        <p:grpSp>
          <p:nvGrpSpPr>
            <p:cNvPr id="30" name="Groep 29">
              <a:extLst>
                <a:ext uri="{FF2B5EF4-FFF2-40B4-BE49-F238E27FC236}">
                  <a16:creationId xmlns:a16="http://schemas.microsoft.com/office/drawing/2014/main" id="{0D964751-853E-467A-97F7-731D4ACCE716}"/>
                </a:ext>
              </a:extLst>
            </p:cNvPr>
            <p:cNvGrpSpPr/>
            <p:nvPr/>
          </p:nvGrpSpPr>
          <p:grpSpPr>
            <a:xfrm>
              <a:off x="3750065" y="2970605"/>
              <a:ext cx="2287835" cy="916790"/>
              <a:chOff x="3660510" y="236854"/>
              <a:chExt cx="2287835" cy="916790"/>
            </a:xfrm>
          </p:grpSpPr>
          <p:sp>
            <p:nvSpPr>
              <p:cNvPr id="40" name="Pijl: punthaak 39">
                <a:extLst>
                  <a:ext uri="{FF2B5EF4-FFF2-40B4-BE49-F238E27FC236}">
                    <a16:creationId xmlns:a16="http://schemas.microsoft.com/office/drawing/2014/main" id="{2EB79BB5-045C-4DD7-9EA1-8B379BF8E3EA}"/>
                  </a:ext>
                </a:extLst>
              </p:cNvPr>
              <p:cNvSpPr/>
              <p:nvPr/>
            </p:nvSpPr>
            <p:spPr>
              <a:xfrm>
                <a:off x="3660510" y="236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Pijl: punthaak 8">
                <a:extLst>
                  <a:ext uri="{FF2B5EF4-FFF2-40B4-BE49-F238E27FC236}">
                    <a16:creationId xmlns:a16="http://schemas.microsoft.com/office/drawing/2014/main" id="{691C8DCA-B515-486A-9234-C6A34AC2043F}"/>
                  </a:ext>
                </a:extLst>
              </p:cNvPr>
              <p:cNvSpPr txBox="1"/>
              <p:nvPr/>
            </p:nvSpPr>
            <p:spPr>
              <a:xfrm>
                <a:off x="4118905" y="236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Font typeface="+mj-lt"/>
                  <a:buNone/>
                </a:pPr>
                <a:r>
                  <a:rPr lang="nl-NL" sz="900" kern="1200"/>
                  <a:t>Randvoorwaarden inrichten om data-allianties te realiseren</a:t>
                </a:r>
              </a:p>
              <a:p>
                <a:pPr marL="0" lvl="0" indent="0" algn="ctr" defTabSz="400050">
                  <a:lnSpc>
                    <a:spcPct val="90000"/>
                  </a:lnSpc>
                  <a:spcBef>
                    <a:spcPct val="0"/>
                  </a:spcBef>
                  <a:spcAft>
                    <a:spcPts val="600"/>
                  </a:spcAft>
                  <a:buClrTx/>
                  <a:buSzTx/>
                  <a:buFont typeface="Arial" panose="020B0604020202020204" pitchFamily="34" charset="0"/>
                  <a:buNone/>
                </a:pPr>
                <a:r>
                  <a:rPr lang="nl-NL" sz="900" kern="1200"/>
                  <a:t>Eerste data-alliantie(s) in werking brengen</a:t>
                </a:r>
                <a:endParaRPr lang="nl-NL" sz="900" kern="1200">
                  <a:solidFill>
                    <a:schemeClr val="tx1"/>
                  </a:solidFill>
                </a:endParaRPr>
              </a:p>
            </p:txBody>
          </p:sp>
        </p:grpSp>
        <p:grpSp>
          <p:nvGrpSpPr>
            <p:cNvPr id="31" name="Groep 30">
              <a:extLst>
                <a:ext uri="{FF2B5EF4-FFF2-40B4-BE49-F238E27FC236}">
                  <a16:creationId xmlns:a16="http://schemas.microsoft.com/office/drawing/2014/main" id="{04770EBE-19EC-4F96-9862-3754D37F8ACF}"/>
                </a:ext>
              </a:extLst>
            </p:cNvPr>
            <p:cNvGrpSpPr/>
            <p:nvPr/>
          </p:nvGrpSpPr>
          <p:grpSpPr>
            <a:xfrm>
              <a:off x="5770717" y="2970605"/>
              <a:ext cx="2287835" cy="916790"/>
              <a:chOff x="5681162" y="236854"/>
              <a:chExt cx="2287835" cy="916790"/>
            </a:xfrm>
          </p:grpSpPr>
          <p:sp>
            <p:nvSpPr>
              <p:cNvPr id="38" name="Pijl: punthaak 37">
                <a:extLst>
                  <a:ext uri="{FF2B5EF4-FFF2-40B4-BE49-F238E27FC236}">
                    <a16:creationId xmlns:a16="http://schemas.microsoft.com/office/drawing/2014/main" id="{18552F9B-D05B-40DF-8A45-914E23E82F9C}"/>
                  </a:ext>
                </a:extLst>
              </p:cNvPr>
              <p:cNvSpPr/>
              <p:nvPr/>
            </p:nvSpPr>
            <p:spPr>
              <a:xfrm>
                <a:off x="5681162" y="236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Pijl: punthaak 10">
                <a:extLst>
                  <a:ext uri="{FF2B5EF4-FFF2-40B4-BE49-F238E27FC236}">
                    <a16:creationId xmlns:a16="http://schemas.microsoft.com/office/drawing/2014/main" id="{BCC6EC46-BCC6-4FF3-AA3E-1698211A19A1}"/>
                  </a:ext>
                </a:extLst>
              </p:cNvPr>
              <p:cNvSpPr txBox="1"/>
              <p:nvPr/>
            </p:nvSpPr>
            <p:spPr>
              <a:xfrm>
                <a:off x="6139557" y="236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32" name="Groep 31">
              <a:extLst>
                <a:ext uri="{FF2B5EF4-FFF2-40B4-BE49-F238E27FC236}">
                  <a16:creationId xmlns:a16="http://schemas.microsoft.com/office/drawing/2014/main" id="{ECB4BB3E-51AF-4ED4-A65D-5F30559BB25B}"/>
                </a:ext>
              </a:extLst>
            </p:cNvPr>
            <p:cNvGrpSpPr/>
            <p:nvPr/>
          </p:nvGrpSpPr>
          <p:grpSpPr>
            <a:xfrm>
              <a:off x="7791369" y="2970605"/>
              <a:ext cx="2287835" cy="916790"/>
              <a:chOff x="7701814" y="236854"/>
              <a:chExt cx="2287835" cy="916790"/>
            </a:xfrm>
          </p:grpSpPr>
          <p:sp>
            <p:nvSpPr>
              <p:cNvPr id="36" name="Pijl: punthaak 35">
                <a:extLst>
                  <a:ext uri="{FF2B5EF4-FFF2-40B4-BE49-F238E27FC236}">
                    <a16:creationId xmlns:a16="http://schemas.microsoft.com/office/drawing/2014/main" id="{59E61BCF-0D5F-4BE8-874E-8D45067FCE14}"/>
                  </a:ext>
                </a:extLst>
              </p:cNvPr>
              <p:cNvSpPr/>
              <p:nvPr/>
            </p:nvSpPr>
            <p:spPr>
              <a:xfrm>
                <a:off x="7701814" y="236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Pijl: punthaak 12">
                <a:extLst>
                  <a:ext uri="{FF2B5EF4-FFF2-40B4-BE49-F238E27FC236}">
                    <a16:creationId xmlns:a16="http://schemas.microsoft.com/office/drawing/2014/main" id="{80C5EF95-1853-4064-ABCD-C59A0D1D3377}"/>
                  </a:ext>
                </a:extLst>
              </p:cNvPr>
              <p:cNvSpPr txBox="1"/>
              <p:nvPr/>
            </p:nvSpPr>
            <p:spPr>
              <a:xfrm>
                <a:off x="8160209" y="236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Volwassenheid: in staat om flexibel op en af te schalen en aan of af te sluiten</a:t>
                </a:r>
              </a:p>
            </p:txBody>
          </p:sp>
        </p:grpSp>
        <p:grpSp>
          <p:nvGrpSpPr>
            <p:cNvPr id="33" name="Groep 32">
              <a:extLst>
                <a:ext uri="{FF2B5EF4-FFF2-40B4-BE49-F238E27FC236}">
                  <a16:creationId xmlns:a16="http://schemas.microsoft.com/office/drawing/2014/main" id="{D3C47972-9E3E-4812-97FC-195D4297EC35}"/>
                </a:ext>
              </a:extLst>
            </p:cNvPr>
            <p:cNvGrpSpPr/>
            <p:nvPr/>
          </p:nvGrpSpPr>
          <p:grpSpPr>
            <a:xfrm>
              <a:off x="9812021" y="2970605"/>
              <a:ext cx="2287835" cy="916790"/>
              <a:chOff x="9722466" y="236854"/>
              <a:chExt cx="2287835" cy="916790"/>
            </a:xfrm>
          </p:grpSpPr>
          <p:sp>
            <p:nvSpPr>
              <p:cNvPr id="34" name="Pijl: punthaak 33">
                <a:extLst>
                  <a:ext uri="{FF2B5EF4-FFF2-40B4-BE49-F238E27FC236}">
                    <a16:creationId xmlns:a16="http://schemas.microsoft.com/office/drawing/2014/main" id="{51BE1D41-FE4E-4224-89AD-A3F85BCCC532}"/>
                  </a:ext>
                </a:extLst>
              </p:cNvPr>
              <p:cNvSpPr/>
              <p:nvPr/>
            </p:nvSpPr>
            <p:spPr>
              <a:xfrm>
                <a:off x="9722466" y="236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5" name="Pijl: punthaak 14">
                <a:extLst>
                  <a:ext uri="{FF2B5EF4-FFF2-40B4-BE49-F238E27FC236}">
                    <a16:creationId xmlns:a16="http://schemas.microsoft.com/office/drawing/2014/main" id="{20F0DA72-602A-4A89-8134-F0780D612EE9}"/>
                  </a:ext>
                </a:extLst>
              </p:cNvPr>
              <p:cNvSpPr txBox="1"/>
              <p:nvPr/>
            </p:nvSpPr>
            <p:spPr>
              <a:xfrm>
                <a:off x="10180861" y="236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Data-allianties</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extLst>
              <p:ext uri="{D42A27DB-BD31-4B8C-83A1-F6EECF244321}">
                <p14:modId xmlns:p14="http://schemas.microsoft.com/office/powerpoint/2010/main" val="2675833765"/>
              </p:ext>
            </p:extLst>
          </p:nvPr>
        </p:nvGraphicFramePr>
        <p:xfrm>
          <a:off x="516000" y="2700000"/>
          <a:ext cx="11160000" cy="2059746"/>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Voorwaarden opstellen voor data-alliant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100" dirty="0">
                        <a:highlight>
                          <a:srgbClr val="FFFF00"/>
                        </a:highlight>
                      </a:endParaRPr>
                    </a:p>
                  </a:txBody>
                  <a:tcPr/>
                </a:tc>
                <a:tc>
                  <a:txBody>
                    <a:bodyPr/>
                    <a:lstStyle/>
                    <a:p>
                      <a:r>
                        <a:rPr lang="nl-NL" sz="1100"/>
                        <a:t>Koppelvlakken t.b.v. data-uitwisseling</a:t>
                      </a:r>
                    </a:p>
                  </a:txBody>
                  <a:tcPr/>
                </a:tc>
                <a:tc>
                  <a:txBody>
                    <a:bodyPr/>
                    <a:lstStyle/>
                    <a:p>
                      <a:r>
                        <a:rPr lang="nl-NL" sz="1100"/>
                        <a:t>Wetgeving die het niet mogelijk maakt om data-allianties aan te gaan</a:t>
                      </a:r>
                    </a:p>
                    <a:p>
                      <a:r>
                        <a:rPr lang="nl-NL" sz="1100"/>
                        <a:t>Strenge voorwaarden waardoor data-allianties erg lastig worden</a:t>
                      </a:r>
                    </a:p>
                  </a:txBody>
                  <a:tcPr/>
                </a:tc>
                <a:extLst>
                  <a:ext uri="{0D108BD9-81ED-4DB2-BD59-A6C34878D82A}">
                    <a16:rowId xmlns:a16="http://schemas.microsoft.com/office/drawing/2014/main" val="2315363676"/>
                  </a:ext>
                </a:extLst>
              </a:tr>
              <a:tr h="4403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solidFill>
                            <a:schemeClr val="tx1"/>
                          </a:solidFill>
                        </a:rPr>
                        <a:t>Datastrategie afspreken met ketenpartn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1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100" dirty="0">
                        <a:solidFill>
                          <a:schemeClr val="tx1"/>
                        </a:solidFill>
                      </a:endParaRPr>
                    </a:p>
                  </a:txBody>
                  <a:tcPr/>
                </a:tc>
                <a:tc>
                  <a:txBody>
                    <a:bodyPr/>
                    <a:lstStyle/>
                    <a:p>
                      <a:r>
                        <a:rPr lang="nl-NL" sz="1100" dirty="0"/>
                        <a:t>-</a:t>
                      </a:r>
                    </a:p>
                  </a:txBody>
                  <a:tcPr/>
                </a:tc>
                <a:tc>
                  <a:txBody>
                    <a:bodyPr/>
                    <a:lstStyle/>
                    <a:p>
                      <a:endParaRPr lang="nl-NL" sz="1100" dirty="0"/>
                    </a:p>
                  </a:txBody>
                  <a:tcPr/>
                </a:tc>
                <a:extLst>
                  <a:ext uri="{0D108BD9-81ED-4DB2-BD59-A6C34878D82A}">
                    <a16:rowId xmlns:a16="http://schemas.microsoft.com/office/drawing/2014/main" val="1427394364"/>
                  </a:ext>
                </a:extLst>
              </a:tr>
              <a:tr h="4403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solidFill>
                            <a:schemeClr val="tx1"/>
                          </a:solidFill>
                        </a:rPr>
                        <a:t>Ervaring opdoen met data-alliant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solidFill>
                            <a:schemeClr val="tx1"/>
                          </a:solidFill>
                        </a:rPr>
                        <a:t>Pilots data-allianties</a:t>
                      </a:r>
                    </a:p>
                  </a:txBody>
                  <a:tcPr/>
                </a:tc>
                <a:tc>
                  <a:txBody>
                    <a:bodyPr/>
                    <a:lstStyle/>
                    <a:p>
                      <a:endParaRPr lang="nl-NL" sz="1100" dirty="0"/>
                    </a:p>
                  </a:txBody>
                  <a:tcPr/>
                </a:tc>
                <a:tc>
                  <a:txBody>
                    <a:bodyPr/>
                    <a:lstStyle/>
                    <a:p>
                      <a:endParaRPr lang="nl-NL" sz="1100" dirty="0"/>
                    </a:p>
                  </a:txBody>
                  <a:tcPr/>
                </a:tc>
                <a:extLst>
                  <a:ext uri="{0D108BD9-81ED-4DB2-BD59-A6C34878D82A}">
                    <a16:rowId xmlns:a16="http://schemas.microsoft.com/office/drawing/2014/main" val="3824877329"/>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51" name="Tekstvak 50">
            <a:extLst>
              <a:ext uri="{FF2B5EF4-FFF2-40B4-BE49-F238E27FC236}">
                <a16:creationId xmlns:a16="http://schemas.microsoft.com/office/drawing/2014/main" id="{99A2D607-2CD7-41C3-BA81-EF3BA95AF9C3}"/>
              </a:ext>
            </a:extLst>
          </p:cNvPr>
          <p:cNvSpPr txBox="1"/>
          <p:nvPr/>
        </p:nvSpPr>
        <p:spPr>
          <a:xfrm>
            <a:off x="502901" y="4814557"/>
            <a:ext cx="11186191" cy="938719"/>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latin typeface="+mn-lt"/>
              </a:rPr>
              <a:t>Om data-allianties aan te kunnen gaan zal eerst voldaan moeten worden aan voorwaarden. Daarom werkt de Raad in 2020 aan het opstellen van voorwaarden voor data-allianties. Ook moet je ervoor zorgen dat je over hetzelfde praat. Daar kom je alleen achter door als ketenpartners met elkaar te overleggen over een gedeelde strategie. In de voorbereidingen op die data-allianties is het een risico dat wetgeving of zelf gestelde voorwaarden dusdanig strikt zijn dat het amper tot niet mogelijk zijn om data-allianties aan te gaan. </a:t>
            </a:r>
          </a:p>
        </p:txBody>
      </p:sp>
      <p:graphicFrame>
        <p:nvGraphicFramePr>
          <p:cNvPr id="47" name="Diagram 46">
            <a:extLst>
              <a:ext uri="{FF2B5EF4-FFF2-40B4-BE49-F238E27FC236}">
                <a16:creationId xmlns:a16="http://schemas.microsoft.com/office/drawing/2014/main" id="{DEEFE6A8-31B3-43C4-9901-B1F8EFF427C9}"/>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036682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2"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2" name="Groep 1">
            <a:extLst>
              <a:ext uri="{FF2B5EF4-FFF2-40B4-BE49-F238E27FC236}">
                <a16:creationId xmlns:a16="http://schemas.microsoft.com/office/drawing/2014/main" id="{200A300F-72FF-44DE-873A-A6F46F8E88DC}"/>
              </a:ext>
            </a:extLst>
          </p:cNvPr>
          <p:cNvGrpSpPr/>
          <p:nvPr/>
        </p:nvGrpSpPr>
        <p:grpSpPr>
          <a:xfrm>
            <a:off x="89554" y="1354276"/>
            <a:ext cx="12007713" cy="919736"/>
            <a:chOff x="92143" y="2969132"/>
            <a:chExt cx="12007713" cy="919736"/>
          </a:xfrm>
        </p:grpSpPr>
        <p:grpSp>
          <p:nvGrpSpPr>
            <p:cNvPr id="46" name="Groep 45">
              <a:extLst>
                <a:ext uri="{FF2B5EF4-FFF2-40B4-BE49-F238E27FC236}">
                  <a16:creationId xmlns:a16="http://schemas.microsoft.com/office/drawing/2014/main" id="{8B70AD3E-17D1-431F-9167-9D06B50518DC}"/>
                </a:ext>
              </a:extLst>
            </p:cNvPr>
            <p:cNvGrpSpPr/>
            <p:nvPr/>
          </p:nvGrpSpPr>
          <p:grpSpPr>
            <a:xfrm>
              <a:off x="92143" y="2969132"/>
              <a:ext cx="1936184" cy="919736"/>
              <a:chOff x="2588" y="1283881"/>
              <a:chExt cx="1936184" cy="919736"/>
            </a:xfrm>
          </p:grpSpPr>
          <p:sp>
            <p:nvSpPr>
              <p:cNvPr id="63" name="Pijl: punthaak 62">
                <a:extLst>
                  <a:ext uri="{FF2B5EF4-FFF2-40B4-BE49-F238E27FC236}">
                    <a16:creationId xmlns:a16="http://schemas.microsoft.com/office/drawing/2014/main" id="{F30D78F8-7060-4335-BDDB-5E2E27D5D482}"/>
                  </a:ext>
                </a:extLst>
              </p:cNvPr>
              <p:cNvSpPr/>
              <p:nvPr/>
            </p:nvSpPr>
            <p:spPr>
              <a:xfrm>
                <a:off x="2588" y="1283881"/>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4" name="Pijl: punthaak 4">
                <a:extLst>
                  <a:ext uri="{FF2B5EF4-FFF2-40B4-BE49-F238E27FC236}">
                    <a16:creationId xmlns:a16="http://schemas.microsoft.com/office/drawing/2014/main" id="{024EB240-8025-4B51-9139-798775171656}"/>
                  </a:ext>
                </a:extLst>
              </p:cNvPr>
              <p:cNvSpPr txBox="1"/>
              <p:nvPr/>
            </p:nvSpPr>
            <p:spPr>
              <a:xfrm>
                <a:off x="462456" y="1283881"/>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Onbetwistbare data</a:t>
                </a:r>
              </a:p>
            </p:txBody>
          </p:sp>
        </p:grpSp>
        <p:grpSp>
          <p:nvGrpSpPr>
            <p:cNvPr id="47" name="Groep 46">
              <a:extLst>
                <a:ext uri="{FF2B5EF4-FFF2-40B4-BE49-F238E27FC236}">
                  <a16:creationId xmlns:a16="http://schemas.microsoft.com/office/drawing/2014/main" id="{71747834-AA42-4167-9299-39F5C7E89B22}"/>
                </a:ext>
              </a:extLst>
            </p:cNvPr>
            <p:cNvGrpSpPr/>
            <p:nvPr/>
          </p:nvGrpSpPr>
          <p:grpSpPr>
            <a:xfrm>
              <a:off x="1729413" y="2970609"/>
              <a:ext cx="2287835" cy="916783"/>
              <a:chOff x="1639858" y="1285358"/>
              <a:chExt cx="2287835" cy="916783"/>
            </a:xfrm>
          </p:grpSpPr>
          <p:sp>
            <p:nvSpPr>
              <p:cNvPr id="61" name="Pijl: punthaak 60">
                <a:extLst>
                  <a:ext uri="{FF2B5EF4-FFF2-40B4-BE49-F238E27FC236}">
                    <a16:creationId xmlns:a16="http://schemas.microsoft.com/office/drawing/2014/main" id="{B98E89B6-4B64-4D41-8B9E-E74866A2675A}"/>
                  </a:ext>
                </a:extLst>
              </p:cNvPr>
              <p:cNvSpPr/>
              <p:nvPr/>
            </p:nvSpPr>
            <p:spPr>
              <a:xfrm>
                <a:off x="1639858" y="1285358"/>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2" name="Pijl: punthaak 6">
                <a:extLst>
                  <a:ext uri="{FF2B5EF4-FFF2-40B4-BE49-F238E27FC236}">
                    <a16:creationId xmlns:a16="http://schemas.microsoft.com/office/drawing/2014/main" id="{B9474BA7-834B-4D3D-B5CD-751DDCFBF164}"/>
                  </a:ext>
                </a:extLst>
              </p:cNvPr>
              <p:cNvSpPr txBox="1"/>
              <p:nvPr/>
            </p:nvSpPr>
            <p:spPr>
              <a:xfrm>
                <a:off x="2098250" y="1285358"/>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ClrTx/>
                  <a:buSzTx/>
                  <a:buFont typeface="+mj-lt"/>
                  <a:buNone/>
                </a:pPr>
                <a:r>
                  <a:rPr lang="nl-NL" sz="900" kern="1200"/>
                  <a:t>Kwaliteitscriteria nieuwe data vaststellen</a:t>
                </a:r>
              </a:p>
              <a:p>
                <a:pPr lvl="0" algn="ctr">
                  <a:spcAft>
                    <a:spcPts val="600"/>
                  </a:spcAft>
                </a:pPr>
                <a:r>
                  <a:rPr lang="nl-NL" sz="900"/>
                  <a:t>Zicht krijgen op betrouwbaarheid historische data</a:t>
                </a:r>
              </a:p>
            </p:txBody>
          </p:sp>
        </p:grpSp>
        <p:grpSp>
          <p:nvGrpSpPr>
            <p:cNvPr id="49" name="Groep 48">
              <a:extLst>
                <a:ext uri="{FF2B5EF4-FFF2-40B4-BE49-F238E27FC236}">
                  <a16:creationId xmlns:a16="http://schemas.microsoft.com/office/drawing/2014/main" id="{9FA86445-BDAC-410A-B53B-6AAF78158E18}"/>
                </a:ext>
              </a:extLst>
            </p:cNvPr>
            <p:cNvGrpSpPr/>
            <p:nvPr/>
          </p:nvGrpSpPr>
          <p:grpSpPr>
            <a:xfrm>
              <a:off x="3750065" y="2970605"/>
              <a:ext cx="2287835" cy="916790"/>
              <a:chOff x="3660510" y="1285354"/>
              <a:chExt cx="2287835" cy="916790"/>
            </a:xfrm>
          </p:grpSpPr>
          <p:sp>
            <p:nvSpPr>
              <p:cNvPr id="59" name="Pijl: punthaak 58">
                <a:extLst>
                  <a:ext uri="{FF2B5EF4-FFF2-40B4-BE49-F238E27FC236}">
                    <a16:creationId xmlns:a16="http://schemas.microsoft.com/office/drawing/2014/main" id="{1B7EF515-6253-4613-B9D0-E3AF760A538F}"/>
                  </a:ext>
                </a:extLst>
              </p:cNvPr>
              <p:cNvSpPr/>
              <p:nvPr/>
            </p:nvSpPr>
            <p:spPr>
              <a:xfrm>
                <a:off x="3660510" y="1285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0" name="Pijl: punthaak 8">
                <a:extLst>
                  <a:ext uri="{FF2B5EF4-FFF2-40B4-BE49-F238E27FC236}">
                    <a16:creationId xmlns:a16="http://schemas.microsoft.com/office/drawing/2014/main" id="{EA05D0A2-1F1C-4857-A455-0C88A2B18D6D}"/>
                  </a:ext>
                </a:extLst>
              </p:cNvPr>
              <p:cNvSpPr txBox="1"/>
              <p:nvPr/>
            </p:nvSpPr>
            <p:spPr>
              <a:xfrm>
                <a:off x="4118905" y="1285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Font typeface="+mj-lt"/>
                  <a:buNone/>
                </a:pPr>
                <a:r>
                  <a:rPr lang="nl-NL" sz="900" kern="1200"/>
                  <a:t>Betrouwbaarheid historische data verbeteren</a:t>
                </a:r>
                <a:endParaRPr lang="nl-NL" sz="900" kern="1200">
                  <a:solidFill>
                    <a:srgbClr val="C00000"/>
                  </a:solidFill>
                </a:endParaRPr>
              </a:p>
            </p:txBody>
          </p:sp>
        </p:grpSp>
        <p:grpSp>
          <p:nvGrpSpPr>
            <p:cNvPr id="50" name="Groep 49">
              <a:extLst>
                <a:ext uri="{FF2B5EF4-FFF2-40B4-BE49-F238E27FC236}">
                  <a16:creationId xmlns:a16="http://schemas.microsoft.com/office/drawing/2014/main" id="{F8C8AE5B-C910-4BA8-9ED2-4EF5002E5F6E}"/>
                </a:ext>
              </a:extLst>
            </p:cNvPr>
            <p:cNvGrpSpPr/>
            <p:nvPr/>
          </p:nvGrpSpPr>
          <p:grpSpPr>
            <a:xfrm>
              <a:off x="5770717" y="2970605"/>
              <a:ext cx="2287835" cy="916790"/>
              <a:chOff x="5681162" y="1285354"/>
              <a:chExt cx="2287835" cy="916790"/>
            </a:xfrm>
          </p:grpSpPr>
          <p:sp>
            <p:nvSpPr>
              <p:cNvPr id="57" name="Pijl: punthaak 56">
                <a:extLst>
                  <a:ext uri="{FF2B5EF4-FFF2-40B4-BE49-F238E27FC236}">
                    <a16:creationId xmlns:a16="http://schemas.microsoft.com/office/drawing/2014/main" id="{AEE2E5C8-BCC1-41EB-BA50-589C8EB18C0E}"/>
                  </a:ext>
                </a:extLst>
              </p:cNvPr>
              <p:cNvSpPr/>
              <p:nvPr/>
            </p:nvSpPr>
            <p:spPr>
              <a:xfrm>
                <a:off x="5681162" y="1285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8" name="Pijl: punthaak 10">
                <a:extLst>
                  <a:ext uri="{FF2B5EF4-FFF2-40B4-BE49-F238E27FC236}">
                    <a16:creationId xmlns:a16="http://schemas.microsoft.com/office/drawing/2014/main" id="{6BD97AEE-6CD1-48B7-87E1-24DF362A009C}"/>
                  </a:ext>
                </a:extLst>
              </p:cNvPr>
              <p:cNvSpPr txBox="1"/>
              <p:nvPr/>
            </p:nvSpPr>
            <p:spPr>
              <a:xfrm>
                <a:off x="6139557" y="1285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Nieuwe data is voor 99% betrouwbaar en de 1% onbetrouwbaar is bekend.</a:t>
                </a:r>
              </a:p>
            </p:txBody>
          </p:sp>
        </p:grpSp>
        <p:grpSp>
          <p:nvGrpSpPr>
            <p:cNvPr id="51" name="Groep 50">
              <a:extLst>
                <a:ext uri="{FF2B5EF4-FFF2-40B4-BE49-F238E27FC236}">
                  <a16:creationId xmlns:a16="http://schemas.microsoft.com/office/drawing/2014/main" id="{59C2E740-BC06-4A70-99E9-34D568BCBA8D}"/>
                </a:ext>
              </a:extLst>
            </p:cNvPr>
            <p:cNvGrpSpPr/>
            <p:nvPr/>
          </p:nvGrpSpPr>
          <p:grpSpPr>
            <a:xfrm>
              <a:off x="7791369" y="2970605"/>
              <a:ext cx="2287835" cy="916790"/>
              <a:chOff x="7701814" y="1285354"/>
              <a:chExt cx="2287835" cy="916790"/>
            </a:xfrm>
          </p:grpSpPr>
          <p:sp>
            <p:nvSpPr>
              <p:cNvPr id="55" name="Pijl: punthaak 54">
                <a:extLst>
                  <a:ext uri="{FF2B5EF4-FFF2-40B4-BE49-F238E27FC236}">
                    <a16:creationId xmlns:a16="http://schemas.microsoft.com/office/drawing/2014/main" id="{27B00F95-6C9E-4F2A-8788-E24E2E66F803}"/>
                  </a:ext>
                </a:extLst>
              </p:cNvPr>
              <p:cNvSpPr/>
              <p:nvPr/>
            </p:nvSpPr>
            <p:spPr>
              <a:xfrm>
                <a:off x="7701814" y="1285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6" name="Pijl: punthaak 12">
                <a:extLst>
                  <a:ext uri="{FF2B5EF4-FFF2-40B4-BE49-F238E27FC236}">
                    <a16:creationId xmlns:a16="http://schemas.microsoft.com/office/drawing/2014/main" id="{BADA9162-70F5-496B-B1BE-B2B6FB6CC4D6}"/>
                  </a:ext>
                </a:extLst>
              </p:cNvPr>
              <p:cNvSpPr txBox="1"/>
              <p:nvPr/>
            </p:nvSpPr>
            <p:spPr>
              <a:xfrm>
                <a:off x="8160209" y="1285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52" name="Groep 51">
              <a:extLst>
                <a:ext uri="{FF2B5EF4-FFF2-40B4-BE49-F238E27FC236}">
                  <a16:creationId xmlns:a16="http://schemas.microsoft.com/office/drawing/2014/main" id="{23683599-E665-4192-83C5-E5BA74AC536B}"/>
                </a:ext>
              </a:extLst>
            </p:cNvPr>
            <p:cNvGrpSpPr/>
            <p:nvPr/>
          </p:nvGrpSpPr>
          <p:grpSpPr>
            <a:xfrm>
              <a:off x="9812021" y="2970605"/>
              <a:ext cx="2287835" cy="916790"/>
              <a:chOff x="9722466" y="1285354"/>
              <a:chExt cx="2287835" cy="916790"/>
            </a:xfrm>
          </p:grpSpPr>
          <p:sp>
            <p:nvSpPr>
              <p:cNvPr id="53" name="Pijl: punthaak 52">
                <a:extLst>
                  <a:ext uri="{FF2B5EF4-FFF2-40B4-BE49-F238E27FC236}">
                    <a16:creationId xmlns:a16="http://schemas.microsoft.com/office/drawing/2014/main" id="{ADAE74ED-3B11-4028-8274-A87D590BBFF0}"/>
                  </a:ext>
                </a:extLst>
              </p:cNvPr>
              <p:cNvSpPr/>
              <p:nvPr/>
            </p:nvSpPr>
            <p:spPr>
              <a:xfrm>
                <a:off x="9722466" y="1285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4" name="Pijl: punthaak 14">
                <a:extLst>
                  <a:ext uri="{FF2B5EF4-FFF2-40B4-BE49-F238E27FC236}">
                    <a16:creationId xmlns:a16="http://schemas.microsoft.com/office/drawing/2014/main" id="{A5EE64CF-79DA-4034-8B94-2DBA19B70788}"/>
                  </a:ext>
                </a:extLst>
              </p:cNvPr>
              <p:cNvSpPr txBox="1"/>
              <p:nvPr/>
            </p:nvSpPr>
            <p:spPr>
              <a:xfrm>
                <a:off x="10180861" y="1285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Onbetwistbare data</a:t>
            </a: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1451709"/>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Arial" panose="020B0604020202020204" pitchFamily="34" charset="0"/>
                        <a:buNone/>
                      </a:pPr>
                      <a:r>
                        <a:rPr lang="nl-NL" sz="1100"/>
                        <a:t>Kwaliteitscriteria nieuwe data vaststellen</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a:t>Vaststellen kwaliteitscriteria </a:t>
                      </a:r>
                      <a:r>
                        <a:rPr lang="nl-NL" sz="1100" i="1"/>
                        <a:t>nieuw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a:t>Borgen in processen</a:t>
                      </a:r>
                    </a:p>
                  </a:txBody>
                  <a:tcPr/>
                </a:tc>
                <a:tc>
                  <a:txBody>
                    <a:bodyPr/>
                    <a:lstStyle/>
                    <a:p>
                      <a:r>
                        <a:rPr lang="nl-NL" sz="1100"/>
                        <a:t>N.v.t.</a:t>
                      </a:r>
                    </a:p>
                  </a:txBody>
                  <a:tcPr/>
                </a:tc>
                <a:tc>
                  <a:txBody>
                    <a:bodyPr/>
                    <a:lstStyle/>
                    <a:p>
                      <a:r>
                        <a:rPr lang="nl-NL" sz="1100"/>
                        <a:t>Tijdsdruk en prioriteit bij nieuwe ontwikkelingen</a:t>
                      </a:r>
                    </a:p>
                  </a:txBody>
                  <a:tcPr/>
                </a:tc>
                <a:extLst>
                  <a:ext uri="{0D108BD9-81ED-4DB2-BD59-A6C34878D82A}">
                    <a16:rowId xmlns:a16="http://schemas.microsoft.com/office/drawing/2014/main" val="2315363676"/>
                  </a:ext>
                </a:extLst>
              </a:tr>
              <a:tr h="440397">
                <a:tc>
                  <a:txBody>
                    <a:bodyPr/>
                    <a:lstStyle/>
                    <a:p>
                      <a:pPr lvl="0">
                        <a:spcAft>
                          <a:spcPts val="600"/>
                        </a:spcAft>
                        <a:buFont typeface="Arial" panose="020B0604020202020204" pitchFamily="34" charset="0"/>
                        <a:buNone/>
                      </a:pPr>
                      <a:r>
                        <a:rPr lang="nl-NL" sz="1100"/>
                        <a:t>Zicht krijgen op betrouwbaarheid historische data</a:t>
                      </a:r>
                    </a:p>
                  </a:txBody>
                  <a:tcPr/>
                </a:tc>
                <a:tc>
                  <a:txBody>
                    <a:bodyPr/>
                    <a:lstStyle/>
                    <a:p>
                      <a:r>
                        <a:rPr lang="nl-NL" sz="1100"/>
                        <a:t>Nulmeting op datakwaliteit</a:t>
                      </a:r>
                    </a:p>
                  </a:txBody>
                  <a:tcPr/>
                </a:tc>
                <a:tc>
                  <a:txBody>
                    <a:bodyPr/>
                    <a:lstStyle/>
                    <a:p>
                      <a:r>
                        <a:rPr lang="nl-NL" sz="1100"/>
                        <a:t>N.v.t.</a:t>
                      </a:r>
                    </a:p>
                  </a:txBody>
                  <a:tcPr/>
                </a:tc>
                <a:tc>
                  <a:txBody>
                    <a:bodyPr/>
                    <a:lstStyle/>
                    <a:p>
                      <a:r>
                        <a:rPr lang="nl-NL" sz="1100"/>
                        <a:t>?</a:t>
                      </a:r>
                    </a:p>
                  </a:txBody>
                  <a:tcPr/>
                </a:tc>
                <a:extLst>
                  <a:ext uri="{0D108BD9-81ED-4DB2-BD59-A6C34878D82A}">
                    <a16:rowId xmlns:a16="http://schemas.microsoft.com/office/drawing/2014/main" val="3238388323"/>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31" name="Tekstvak 30">
            <a:extLst>
              <a:ext uri="{FF2B5EF4-FFF2-40B4-BE49-F238E27FC236}">
                <a16:creationId xmlns:a16="http://schemas.microsoft.com/office/drawing/2014/main" id="{A3EEB72F-8106-40FC-8A5B-6F6963198AEA}"/>
              </a:ext>
            </a:extLst>
          </p:cNvPr>
          <p:cNvSpPr txBox="1"/>
          <p:nvPr/>
        </p:nvSpPr>
        <p:spPr>
          <a:xfrm>
            <a:off x="502901" y="4614006"/>
            <a:ext cx="11186191" cy="938719"/>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latin typeface="+mn-lt"/>
              </a:rPr>
              <a:t>Door het vaststellen van kwaliteitscriteria voor nieuwe data én deze criteria te borgen in processen wordt nieuw vastgelegde data onbetwistbaar. Onder meer het bedrijfsgegevensmodel speelt hierin een belangrijke rol. Belangrijke onderwerpen hierbij zijn onafhankelijkheid, kwaliteit, openbaarheid en controleerbaarheid. Om ook de onbetwistbaarheid van historische data te garanderen starten we met een nulmeting op datakwaliteit op betrouwbaarheid. Hierin wordt teruggegrepen op de visie op data; waar staat welke data, hoe veilig is die data, hoe is data geclassificeerd en wat is de kwaliteit?</a:t>
            </a:r>
          </a:p>
        </p:txBody>
      </p:sp>
      <p:graphicFrame>
        <p:nvGraphicFramePr>
          <p:cNvPr id="32" name="Diagram 31">
            <a:extLst>
              <a:ext uri="{FF2B5EF4-FFF2-40B4-BE49-F238E27FC236}">
                <a16:creationId xmlns:a16="http://schemas.microsoft.com/office/drawing/2014/main" id="{443063CA-989B-4DB8-A07D-4D5FC9D33DB2}"/>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54981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6"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2" name="Groep 1">
            <a:extLst>
              <a:ext uri="{FF2B5EF4-FFF2-40B4-BE49-F238E27FC236}">
                <a16:creationId xmlns:a16="http://schemas.microsoft.com/office/drawing/2014/main" id="{DF103D68-9A74-4413-8DFF-3BD1589E5971}"/>
              </a:ext>
            </a:extLst>
          </p:cNvPr>
          <p:cNvGrpSpPr/>
          <p:nvPr/>
        </p:nvGrpSpPr>
        <p:grpSpPr>
          <a:xfrm>
            <a:off x="89554" y="1354276"/>
            <a:ext cx="12007713" cy="919736"/>
            <a:chOff x="92143" y="2969132"/>
            <a:chExt cx="12007713" cy="919736"/>
          </a:xfrm>
        </p:grpSpPr>
        <p:grpSp>
          <p:nvGrpSpPr>
            <p:cNvPr id="46" name="Groep 45">
              <a:extLst>
                <a:ext uri="{FF2B5EF4-FFF2-40B4-BE49-F238E27FC236}">
                  <a16:creationId xmlns:a16="http://schemas.microsoft.com/office/drawing/2014/main" id="{51D67AD9-4E61-475B-B25C-AE7A6F3E82E0}"/>
                </a:ext>
              </a:extLst>
            </p:cNvPr>
            <p:cNvGrpSpPr/>
            <p:nvPr/>
          </p:nvGrpSpPr>
          <p:grpSpPr>
            <a:xfrm>
              <a:off x="92143" y="2969132"/>
              <a:ext cx="1936184" cy="919736"/>
              <a:chOff x="2588" y="2332381"/>
              <a:chExt cx="1936184" cy="919736"/>
            </a:xfrm>
          </p:grpSpPr>
          <p:sp>
            <p:nvSpPr>
              <p:cNvPr id="63" name="Pijl: punthaak 62">
                <a:extLst>
                  <a:ext uri="{FF2B5EF4-FFF2-40B4-BE49-F238E27FC236}">
                    <a16:creationId xmlns:a16="http://schemas.microsoft.com/office/drawing/2014/main" id="{F9B4072E-8736-49F7-9D1B-5036DE7CED75}"/>
                  </a:ext>
                </a:extLst>
              </p:cNvPr>
              <p:cNvSpPr/>
              <p:nvPr/>
            </p:nvSpPr>
            <p:spPr>
              <a:xfrm>
                <a:off x="2588" y="2332381"/>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4" name="Pijl: punthaak 4">
                <a:extLst>
                  <a:ext uri="{FF2B5EF4-FFF2-40B4-BE49-F238E27FC236}">
                    <a16:creationId xmlns:a16="http://schemas.microsoft.com/office/drawing/2014/main" id="{91E64E38-C47E-4964-8143-D87ABFF7EF03}"/>
                  </a:ext>
                </a:extLst>
              </p:cNvPr>
              <p:cNvSpPr txBox="1"/>
              <p:nvPr/>
            </p:nvSpPr>
            <p:spPr>
              <a:xfrm>
                <a:off x="462456" y="2332381"/>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Data </a:t>
                </a:r>
                <a:r>
                  <a:rPr lang="nl-NL" sz="1000" kern="1200" err="1">
                    <a:solidFill>
                      <a:schemeClr val="bg1"/>
                    </a:solidFill>
                  </a:rPr>
                  <a:t>warehousing</a:t>
                </a:r>
                <a:endParaRPr lang="nl-NL" sz="1000" kern="1200">
                  <a:solidFill>
                    <a:schemeClr val="bg1"/>
                  </a:solidFill>
                </a:endParaRPr>
              </a:p>
            </p:txBody>
          </p:sp>
        </p:grpSp>
        <p:grpSp>
          <p:nvGrpSpPr>
            <p:cNvPr id="47" name="Groep 46">
              <a:extLst>
                <a:ext uri="{FF2B5EF4-FFF2-40B4-BE49-F238E27FC236}">
                  <a16:creationId xmlns:a16="http://schemas.microsoft.com/office/drawing/2014/main" id="{B56B160B-8F35-4804-ADEB-51F15A7D02E9}"/>
                </a:ext>
              </a:extLst>
            </p:cNvPr>
            <p:cNvGrpSpPr/>
            <p:nvPr/>
          </p:nvGrpSpPr>
          <p:grpSpPr>
            <a:xfrm>
              <a:off x="1729413" y="2970609"/>
              <a:ext cx="2287835" cy="916783"/>
              <a:chOff x="1639858" y="2333858"/>
              <a:chExt cx="2287835" cy="916783"/>
            </a:xfrm>
          </p:grpSpPr>
          <p:sp>
            <p:nvSpPr>
              <p:cNvPr id="61" name="Pijl: punthaak 60">
                <a:extLst>
                  <a:ext uri="{FF2B5EF4-FFF2-40B4-BE49-F238E27FC236}">
                    <a16:creationId xmlns:a16="http://schemas.microsoft.com/office/drawing/2014/main" id="{5B7F93A3-E7B0-454D-8886-CAB5C4511E5C}"/>
                  </a:ext>
                </a:extLst>
              </p:cNvPr>
              <p:cNvSpPr/>
              <p:nvPr/>
            </p:nvSpPr>
            <p:spPr>
              <a:xfrm>
                <a:off x="1639858" y="2333858"/>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2" name="Pijl: punthaak 6">
                <a:extLst>
                  <a:ext uri="{FF2B5EF4-FFF2-40B4-BE49-F238E27FC236}">
                    <a16:creationId xmlns:a16="http://schemas.microsoft.com/office/drawing/2014/main" id="{18C44E04-7161-4853-9553-44EE318FF558}"/>
                  </a:ext>
                </a:extLst>
              </p:cNvPr>
              <p:cNvSpPr txBox="1"/>
              <p:nvPr/>
            </p:nvSpPr>
            <p:spPr>
              <a:xfrm>
                <a:off x="2098250" y="2333858"/>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Font typeface="Arial" panose="020B0604020202020204" pitchFamily="34" charset="0"/>
                  <a:buNone/>
                </a:pPr>
                <a:r>
                  <a:rPr lang="nl-NL" sz="900" kern="1200"/>
                  <a:t>Data-architectuur vaststellen</a:t>
                </a:r>
              </a:p>
            </p:txBody>
          </p:sp>
        </p:grpSp>
        <p:grpSp>
          <p:nvGrpSpPr>
            <p:cNvPr id="49" name="Groep 48">
              <a:extLst>
                <a:ext uri="{FF2B5EF4-FFF2-40B4-BE49-F238E27FC236}">
                  <a16:creationId xmlns:a16="http://schemas.microsoft.com/office/drawing/2014/main" id="{D9087F4F-6D96-461E-8A66-B123DF5E62BF}"/>
                </a:ext>
              </a:extLst>
            </p:cNvPr>
            <p:cNvGrpSpPr/>
            <p:nvPr/>
          </p:nvGrpSpPr>
          <p:grpSpPr>
            <a:xfrm>
              <a:off x="3750065" y="2970605"/>
              <a:ext cx="2287835" cy="916790"/>
              <a:chOff x="3660510" y="2333854"/>
              <a:chExt cx="2287835" cy="916790"/>
            </a:xfrm>
          </p:grpSpPr>
          <p:sp>
            <p:nvSpPr>
              <p:cNvPr id="59" name="Pijl: punthaak 58">
                <a:extLst>
                  <a:ext uri="{FF2B5EF4-FFF2-40B4-BE49-F238E27FC236}">
                    <a16:creationId xmlns:a16="http://schemas.microsoft.com/office/drawing/2014/main" id="{B424BEF3-998B-4BF2-BCCB-263B31C88E77}"/>
                  </a:ext>
                </a:extLst>
              </p:cNvPr>
              <p:cNvSpPr/>
              <p:nvPr/>
            </p:nvSpPr>
            <p:spPr>
              <a:xfrm>
                <a:off x="3660510" y="2333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0" name="Pijl: punthaak 8">
                <a:extLst>
                  <a:ext uri="{FF2B5EF4-FFF2-40B4-BE49-F238E27FC236}">
                    <a16:creationId xmlns:a16="http://schemas.microsoft.com/office/drawing/2014/main" id="{C0BE0419-8ABE-44B0-A19E-5EE8B9C92533}"/>
                  </a:ext>
                </a:extLst>
              </p:cNvPr>
              <p:cNvSpPr txBox="1"/>
              <p:nvPr/>
            </p:nvSpPr>
            <p:spPr>
              <a:xfrm>
                <a:off x="4118905" y="2333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ts val="600"/>
                  </a:spcAft>
                  <a:buClrTx/>
                  <a:buSzTx/>
                  <a:buFont typeface="Arial" panose="020B0604020202020204" pitchFamily="34" charset="0"/>
                  <a:buNone/>
                </a:pPr>
                <a:r>
                  <a:rPr lang="nl-NL" sz="900" kern="1200"/>
                  <a:t>Datawarehouse-manager in stelling brengen</a:t>
                </a:r>
              </a:p>
              <a:p>
                <a:pPr marL="0" lvl="0" indent="0" algn="ctr" defTabSz="400050">
                  <a:lnSpc>
                    <a:spcPct val="90000"/>
                  </a:lnSpc>
                  <a:spcBef>
                    <a:spcPct val="0"/>
                  </a:spcBef>
                  <a:spcAft>
                    <a:spcPts val="600"/>
                  </a:spcAft>
                  <a:buFont typeface="Arial" panose="020B0604020202020204" pitchFamily="34" charset="0"/>
                  <a:buNone/>
                </a:pPr>
                <a:r>
                  <a:rPr lang="nl-NL" sz="900" kern="1200"/>
                  <a:t>Datawarehouse inrichten</a:t>
                </a:r>
                <a:endParaRPr lang="nl-NL" sz="900" kern="1200">
                  <a:solidFill>
                    <a:srgbClr val="C00000"/>
                  </a:solidFill>
                </a:endParaRPr>
              </a:p>
            </p:txBody>
          </p:sp>
        </p:grpSp>
        <p:grpSp>
          <p:nvGrpSpPr>
            <p:cNvPr id="50" name="Groep 49">
              <a:extLst>
                <a:ext uri="{FF2B5EF4-FFF2-40B4-BE49-F238E27FC236}">
                  <a16:creationId xmlns:a16="http://schemas.microsoft.com/office/drawing/2014/main" id="{C7FFD44E-E0EE-41BD-9E0C-224A82B8FCD6}"/>
                </a:ext>
              </a:extLst>
            </p:cNvPr>
            <p:cNvGrpSpPr/>
            <p:nvPr/>
          </p:nvGrpSpPr>
          <p:grpSpPr>
            <a:xfrm>
              <a:off x="5770717" y="2970605"/>
              <a:ext cx="2287835" cy="916790"/>
              <a:chOff x="5681162" y="2333854"/>
              <a:chExt cx="2287835" cy="916790"/>
            </a:xfrm>
          </p:grpSpPr>
          <p:sp>
            <p:nvSpPr>
              <p:cNvPr id="57" name="Pijl: punthaak 56">
                <a:extLst>
                  <a:ext uri="{FF2B5EF4-FFF2-40B4-BE49-F238E27FC236}">
                    <a16:creationId xmlns:a16="http://schemas.microsoft.com/office/drawing/2014/main" id="{6534EB43-F560-43E1-97A8-21A541832425}"/>
                  </a:ext>
                </a:extLst>
              </p:cNvPr>
              <p:cNvSpPr/>
              <p:nvPr/>
            </p:nvSpPr>
            <p:spPr>
              <a:xfrm>
                <a:off x="5681162" y="2333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8" name="Pijl: punthaak 10">
                <a:extLst>
                  <a:ext uri="{FF2B5EF4-FFF2-40B4-BE49-F238E27FC236}">
                    <a16:creationId xmlns:a16="http://schemas.microsoft.com/office/drawing/2014/main" id="{7AF77E08-94E6-44BC-B369-C8309F606F55}"/>
                  </a:ext>
                </a:extLst>
              </p:cNvPr>
              <p:cNvSpPr txBox="1"/>
              <p:nvPr/>
            </p:nvSpPr>
            <p:spPr>
              <a:xfrm>
                <a:off x="6139557" y="2333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endParaRPr lang="nl-NL" sz="900" kern="1200"/>
              </a:p>
            </p:txBody>
          </p:sp>
        </p:grpSp>
        <p:grpSp>
          <p:nvGrpSpPr>
            <p:cNvPr id="51" name="Groep 50">
              <a:extLst>
                <a:ext uri="{FF2B5EF4-FFF2-40B4-BE49-F238E27FC236}">
                  <a16:creationId xmlns:a16="http://schemas.microsoft.com/office/drawing/2014/main" id="{477C4195-7FE9-4361-85BA-50098AD44E29}"/>
                </a:ext>
              </a:extLst>
            </p:cNvPr>
            <p:cNvGrpSpPr/>
            <p:nvPr/>
          </p:nvGrpSpPr>
          <p:grpSpPr>
            <a:xfrm>
              <a:off x="7791369" y="2970605"/>
              <a:ext cx="2287835" cy="916790"/>
              <a:chOff x="7701814" y="2333854"/>
              <a:chExt cx="2287835" cy="916790"/>
            </a:xfrm>
          </p:grpSpPr>
          <p:sp>
            <p:nvSpPr>
              <p:cNvPr id="55" name="Pijl: punthaak 54">
                <a:extLst>
                  <a:ext uri="{FF2B5EF4-FFF2-40B4-BE49-F238E27FC236}">
                    <a16:creationId xmlns:a16="http://schemas.microsoft.com/office/drawing/2014/main" id="{AE119C1D-C595-4AB3-9675-6BC2BD4E2483}"/>
                  </a:ext>
                </a:extLst>
              </p:cNvPr>
              <p:cNvSpPr/>
              <p:nvPr/>
            </p:nvSpPr>
            <p:spPr>
              <a:xfrm>
                <a:off x="7701814" y="2333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6" name="Pijl: punthaak 12">
                <a:extLst>
                  <a:ext uri="{FF2B5EF4-FFF2-40B4-BE49-F238E27FC236}">
                    <a16:creationId xmlns:a16="http://schemas.microsoft.com/office/drawing/2014/main" id="{F72D670F-FF33-4FE2-A336-D02F0CB04CF9}"/>
                  </a:ext>
                </a:extLst>
              </p:cNvPr>
              <p:cNvSpPr txBox="1"/>
              <p:nvPr/>
            </p:nvSpPr>
            <p:spPr>
              <a:xfrm>
                <a:off x="8160209" y="2333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Datavirtualisatie implementeren</a:t>
                </a:r>
              </a:p>
            </p:txBody>
          </p:sp>
        </p:grpSp>
        <p:grpSp>
          <p:nvGrpSpPr>
            <p:cNvPr id="52" name="Groep 51">
              <a:extLst>
                <a:ext uri="{FF2B5EF4-FFF2-40B4-BE49-F238E27FC236}">
                  <a16:creationId xmlns:a16="http://schemas.microsoft.com/office/drawing/2014/main" id="{FDCB53A3-4875-476F-90A8-37C3382C82A2}"/>
                </a:ext>
              </a:extLst>
            </p:cNvPr>
            <p:cNvGrpSpPr/>
            <p:nvPr/>
          </p:nvGrpSpPr>
          <p:grpSpPr>
            <a:xfrm>
              <a:off x="9812021" y="2970605"/>
              <a:ext cx="2287835" cy="916790"/>
              <a:chOff x="9722466" y="2333854"/>
              <a:chExt cx="2287835" cy="916790"/>
            </a:xfrm>
          </p:grpSpPr>
          <p:sp>
            <p:nvSpPr>
              <p:cNvPr id="53" name="Pijl: punthaak 52">
                <a:extLst>
                  <a:ext uri="{FF2B5EF4-FFF2-40B4-BE49-F238E27FC236}">
                    <a16:creationId xmlns:a16="http://schemas.microsoft.com/office/drawing/2014/main" id="{B7E29552-CB05-4B20-AC57-4B11F7776AFB}"/>
                  </a:ext>
                </a:extLst>
              </p:cNvPr>
              <p:cNvSpPr/>
              <p:nvPr/>
            </p:nvSpPr>
            <p:spPr>
              <a:xfrm>
                <a:off x="9722466" y="23338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4" name="Pijl: punthaak 14">
                <a:extLst>
                  <a:ext uri="{FF2B5EF4-FFF2-40B4-BE49-F238E27FC236}">
                    <a16:creationId xmlns:a16="http://schemas.microsoft.com/office/drawing/2014/main" id="{7BA28192-FD9E-4D4E-BB64-490CA71B8556}"/>
                  </a:ext>
                </a:extLst>
              </p:cNvPr>
              <p:cNvSpPr txBox="1"/>
              <p:nvPr/>
            </p:nvSpPr>
            <p:spPr>
              <a:xfrm>
                <a:off x="10180861" y="23338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Data </a:t>
                </a:r>
                <a:r>
                  <a:rPr lang="nl-NL" sz="900" kern="1200" err="1"/>
                  <a:t>lake</a:t>
                </a:r>
                <a:r>
                  <a:rPr lang="nl-NL" sz="900" kern="1200"/>
                  <a:t> implementeren</a:t>
                </a:r>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Data </a:t>
            </a:r>
            <a:r>
              <a:rPr lang="nl-NL" err="1">
                <a:solidFill>
                  <a:srgbClr val="C00000"/>
                </a:solidFill>
              </a:rPr>
              <a:t>warehousing</a:t>
            </a:r>
            <a:endParaRPr lang="nl-NL">
              <a:solidFill>
                <a:srgbClr val="C00000"/>
              </a:solidFill>
            </a:endParaRP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nvGraphicFramePr>
        <p:xfrm>
          <a:off x="516000" y="2700000"/>
          <a:ext cx="11160000" cy="1011312"/>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indent="0">
                        <a:buFont typeface="Arial" panose="020B0604020202020204" pitchFamily="34" charset="0"/>
                        <a:buNone/>
                      </a:pPr>
                      <a:r>
                        <a:rPr lang="nl-NL" sz="1100"/>
                        <a:t>Data-architectuur vaststell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Prioritering data in backlog architectuur</a:t>
                      </a:r>
                    </a:p>
                  </a:txBody>
                  <a:tcPr/>
                </a:tc>
                <a:tc>
                  <a:txBody>
                    <a:bodyPr/>
                    <a:lstStyle/>
                    <a:p>
                      <a:r>
                        <a:rPr lang="nl-NL" sz="1100"/>
                        <a:t>N.v.t.</a:t>
                      </a:r>
                    </a:p>
                  </a:txBody>
                  <a:tcPr/>
                </a:tc>
                <a:tc>
                  <a:txBody>
                    <a:bodyPr/>
                    <a:lstStyle/>
                    <a:p>
                      <a:r>
                        <a:rPr lang="nl-NL" sz="1100"/>
                        <a:t>Mogelijk andere prioriteiten</a:t>
                      </a:r>
                    </a:p>
                    <a:p>
                      <a:r>
                        <a:rPr lang="nl-NL" sz="1100"/>
                        <a:t>Mogelijk eerder relevant dan beschikbaar</a:t>
                      </a:r>
                    </a:p>
                  </a:txBody>
                  <a:tcPr/>
                </a:tc>
                <a:extLst>
                  <a:ext uri="{0D108BD9-81ED-4DB2-BD59-A6C34878D82A}">
                    <a16:rowId xmlns:a16="http://schemas.microsoft.com/office/drawing/2014/main" val="2315363676"/>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31" name="Tekstvak 30">
            <a:extLst>
              <a:ext uri="{FF2B5EF4-FFF2-40B4-BE49-F238E27FC236}">
                <a16:creationId xmlns:a16="http://schemas.microsoft.com/office/drawing/2014/main" id="{756F95CB-800C-468A-B6D8-934459FB0158}"/>
              </a:ext>
            </a:extLst>
          </p:cNvPr>
          <p:cNvSpPr txBox="1"/>
          <p:nvPr/>
        </p:nvSpPr>
        <p:spPr>
          <a:xfrm>
            <a:off x="502901" y="4307635"/>
            <a:ext cx="11186191" cy="769441"/>
          </a:xfrm>
          <a:prstGeom prst="rect">
            <a:avLst/>
          </a:prstGeom>
          <a:noFill/>
        </p:spPr>
        <p:txBody>
          <a:bodyPr wrap="square" rtlCol="0">
            <a:spAutoFit/>
          </a:bodyPr>
          <a:lstStyle/>
          <a:p>
            <a:r>
              <a:rPr lang="nl-NL" sz="1100" b="1">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a:latin typeface="+mn-lt"/>
              </a:rPr>
              <a:t>De te vormen data-architectuur is onderdeel van één van de domeinarchitectuur, zoals ook vermeld staat onder Basis op orde. Met deze data-architectuur leggen we het fundament waarop de komende jaren gebouwd kan worden, waaronder met het </a:t>
            </a:r>
            <a:r>
              <a:rPr lang="nl-NL" sz="1100" err="1">
                <a:latin typeface="+mn-lt"/>
              </a:rPr>
              <a:t>Canonical</a:t>
            </a:r>
            <a:r>
              <a:rPr lang="nl-NL" sz="1100">
                <a:latin typeface="+mn-lt"/>
              </a:rPr>
              <a:t> Data Model, Bedrijfsgegevensmodel en de visie op data.</a:t>
            </a:r>
          </a:p>
        </p:txBody>
      </p:sp>
      <p:graphicFrame>
        <p:nvGraphicFramePr>
          <p:cNvPr id="32" name="Diagram 31">
            <a:extLst>
              <a:ext uri="{FF2B5EF4-FFF2-40B4-BE49-F238E27FC236}">
                <a16:creationId xmlns:a16="http://schemas.microsoft.com/office/drawing/2014/main" id="{984A35AD-55A4-4544-937E-71818B42AC43}"/>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312859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DFF2E-D288-4671-8015-9823D3E50A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60"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C3DDFF2E-D288-4671-8015-9823D3E50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A1AAC226-F5BF-4C2A-8515-D98E6C1AD1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800" b="1" u="none" strike="noStrike" kern="1200" cap="none" spc="0" normalizeH="0" noProof="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grpSp>
        <p:nvGrpSpPr>
          <p:cNvPr id="2" name="Groep 1">
            <a:extLst>
              <a:ext uri="{FF2B5EF4-FFF2-40B4-BE49-F238E27FC236}">
                <a16:creationId xmlns:a16="http://schemas.microsoft.com/office/drawing/2014/main" id="{17F52655-CEF6-4BD5-9797-0E12BE8DA1C6}"/>
              </a:ext>
            </a:extLst>
          </p:cNvPr>
          <p:cNvGrpSpPr/>
          <p:nvPr/>
        </p:nvGrpSpPr>
        <p:grpSpPr>
          <a:xfrm>
            <a:off x="92140" y="1361647"/>
            <a:ext cx="12007713" cy="919736"/>
            <a:chOff x="92143" y="2969132"/>
            <a:chExt cx="12007713" cy="919736"/>
          </a:xfrm>
        </p:grpSpPr>
        <p:grpSp>
          <p:nvGrpSpPr>
            <p:cNvPr id="46" name="Groep 45">
              <a:extLst>
                <a:ext uri="{FF2B5EF4-FFF2-40B4-BE49-F238E27FC236}">
                  <a16:creationId xmlns:a16="http://schemas.microsoft.com/office/drawing/2014/main" id="{62991839-40C9-41AB-A054-307173E25025}"/>
                </a:ext>
              </a:extLst>
            </p:cNvPr>
            <p:cNvGrpSpPr/>
            <p:nvPr/>
          </p:nvGrpSpPr>
          <p:grpSpPr>
            <a:xfrm>
              <a:off x="92143" y="2969132"/>
              <a:ext cx="1936184" cy="919736"/>
              <a:chOff x="2588" y="3380881"/>
              <a:chExt cx="1936184" cy="919736"/>
            </a:xfrm>
          </p:grpSpPr>
          <p:sp>
            <p:nvSpPr>
              <p:cNvPr id="63" name="Pijl: punthaak 62">
                <a:extLst>
                  <a:ext uri="{FF2B5EF4-FFF2-40B4-BE49-F238E27FC236}">
                    <a16:creationId xmlns:a16="http://schemas.microsoft.com/office/drawing/2014/main" id="{7C3473CB-5626-4961-840D-505ADB53A526}"/>
                  </a:ext>
                </a:extLst>
              </p:cNvPr>
              <p:cNvSpPr/>
              <p:nvPr/>
            </p:nvSpPr>
            <p:spPr>
              <a:xfrm>
                <a:off x="2588" y="3380881"/>
                <a:ext cx="1936184" cy="919736"/>
              </a:xfrm>
              <a:prstGeom prst="chevron">
                <a:avLst/>
              </a:prstGeom>
              <a:solidFill>
                <a:srgbClr val="C000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4" name="Pijl: punthaak 4">
                <a:extLst>
                  <a:ext uri="{FF2B5EF4-FFF2-40B4-BE49-F238E27FC236}">
                    <a16:creationId xmlns:a16="http://schemas.microsoft.com/office/drawing/2014/main" id="{6360E9B0-723C-47EC-9068-9E7818E368A7}"/>
                  </a:ext>
                </a:extLst>
              </p:cNvPr>
              <p:cNvSpPr txBox="1"/>
              <p:nvPr/>
            </p:nvSpPr>
            <p:spPr>
              <a:xfrm>
                <a:off x="462456" y="3380881"/>
                <a:ext cx="1016448" cy="9197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6350" rIns="0" bIns="6350" numCol="1" spcCol="1270" anchor="ctr" anchorCtr="0">
                <a:noAutofit/>
              </a:bodyPr>
              <a:lstStyle/>
              <a:p>
                <a:pPr marL="0" lvl="0" indent="0" algn="ctr" defTabSz="444500">
                  <a:lnSpc>
                    <a:spcPct val="90000"/>
                  </a:lnSpc>
                  <a:spcBef>
                    <a:spcPct val="0"/>
                  </a:spcBef>
                  <a:spcAft>
                    <a:spcPct val="35000"/>
                  </a:spcAft>
                  <a:buNone/>
                </a:pPr>
                <a:r>
                  <a:rPr lang="nl-NL" sz="1000" kern="1200">
                    <a:solidFill>
                      <a:schemeClr val="bg1"/>
                    </a:solidFill>
                  </a:rPr>
                  <a:t>Data </a:t>
                </a:r>
                <a:r>
                  <a:rPr lang="nl-NL" sz="1000" kern="1200" err="1">
                    <a:solidFill>
                      <a:schemeClr val="bg1"/>
                    </a:solidFill>
                  </a:rPr>
                  <a:t>analytics</a:t>
                </a:r>
                <a:r>
                  <a:rPr lang="nl-NL" sz="1000" kern="1200">
                    <a:solidFill>
                      <a:schemeClr val="bg1"/>
                    </a:solidFill>
                  </a:rPr>
                  <a:t> &amp; </a:t>
                </a:r>
                <a:r>
                  <a:rPr lang="nl-NL" sz="1000" kern="1200" err="1">
                    <a:solidFill>
                      <a:schemeClr val="bg1"/>
                    </a:solidFill>
                  </a:rPr>
                  <a:t>science</a:t>
                </a:r>
                <a:endParaRPr lang="nl-NL" sz="1000" kern="1200">
                  <a:solidFill>
                    <a:schemeClr val="bg1"/>
                  </a:solidFill>
                </a:endParaRPr>
              </a:p>
            </p:txBody>
          </p:sp>
        </p:grpSp>
        <p:grpSp>
          <p:nvGrpSpPr>
            <p:cNvPr id="47" name="Groep 46">
              <a:extLst>
                <a:ext uri="{FF2B5EF4-FFF2-40B4-BE49-F238E27FC236}">
                  <a16:creationId xmlns:a16="http://schemas.microsoft.com/office/drawing/2014/main" id="{A0417FFA-0A4F-48BC-A977-EC5CF81AFF17}"/>
                </a:ext>
              </a:extLst>
            </p:cNvPr>
            <p:cNvGrpSpPr/>
            <p:nvPr/>
          </p:nvGrpSpPr>
          <p:grpSpPr>
            <a:xfrm>
              <a:off x="1729413" y="2970609"/>
              <a:ext cx="2287835" cy="916783"/>
              <a:chOff x="1639858" y="3382358"/>
              <a:chExt cx="2287835" cy="916783"/>
            </a:xfrm>
          </p:grpSpPr>
          <p:sp>
            <p:nvSpPr>
              <p:cNvPr id="61" name="Pijl: punthaak 60">
                <a:extLst>
                  <a:ext uri="{FF2B5EF4-FFF2-40B4-BE49-F238E27FC236}">
                    <a16:creationId xmlns:a16="http://schemas.microsoft.com/office/drawing/2014/main" id="{BE95E684-99B8-4057-8562-007CC23923F1}"/>
                  </a:ext>
                </a:extLst>
              </p:cNvPr>
              <p:cNvSpPr/>
              <p:nvPr/>
            </p:nvSpPr>
            <p:spPr>
              <a:xfrm>
                <a:off x="1639858" y="3382358"/>
                <a:ext cx="2287835" cy="916783"/>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2" name="Pijl: punthaak 6">
                <a:extLst>
                  <a:ext uri="{FF2B5EF4-FFF2-40B4-BE49-F238E27FC236}">
                    <a16:creationId xmlns:a16="http://schemas.microsoft.com/office/drawing/2014/main" id="{2B610DE6-3642-4FC5-9496-4B851AC3F6B1}"/>
                  </a:ext>
                </a:extLst>
              </p:cNvPr>
              <p:cNvSpPr txBox="1"/>
              <p:nvPr/>
            </p:nvSpPr>
            <p:spPr>
              <a:xfrm>
                <a:off x="2098250" y="3382358"/>
                <a:ext cx="1371052" cy="9167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marL="0" lvl="0" indent="0" algn="ctr" defTabSz="400050">
                  <a:lnSpc>
                    <a:spcPct val="90000"/>
                  </a:lnSpc>
                  <a:spcBef>
                    <a:spcPct val="0"/>
                  </a:spcBef>
                  <a:spcAft>
                    <a:spcPct val="35000"/>
                  </a:spcAft>
                  <a:buNone/>
                </a:pPr>
                <a:r>
                  <a:rPr lang="nl-NL" sz="900" kern="1200"/>
                  <a:t>Visie op data </a:t>
                </a:r>
                <a:r>
                  <a:rPr lang="nl-NL" sz="900"/>
                  <a:t>bepalen</a:t>
                </a:r>
              </a:p>
              <a:p>
                <a:pPr marL="0" lvl="0" indent="0" algn="ctr" defTabSz="400050">
                  <a:lnSpc>
                    <a:spcPct val="90000"/>
                  </a:lnSpc>
                  <a:spcBef>
                    <a:spcPct val="0"/>
                  </a:spcBef>
                  <a:spcAft>
                    <a:spcPct val="35000"/>
                  </a:spcAft>
                  <a:buNone/>
                </a:pPr>
                <a:r>
                  <a:rPr lang="nl-NL" sz="900" kern="1200"/>
                  <a:t>Power BI inrichten</a:t>
                </a:r>
              </a:p>
              <a:p>
                <a:pPr marL="0" lvl="0" indent="0" algn="ctr" defTabSz="400050">
                  <a:lnSpc>
                    <a:spcPct val="90000"/>
                  </a:lnSpc>
                  <a:spcBef>
                    <a:spcPct val="0"/>
                  </a:spcBef>
                  <a:spcAft>
                    <a:spcPct val="35000"/>
                  </a:spcAft>
                  <a:buNone/>
                </a:pPr>
                <a:r>
                  <a:rPr lang="nl-NL" sz="900"/>
                  <a:t>Tweede data </a:t>
                </a:r>
                <a:r>
                  <a:rPr lang="nl-NL" sz="900" err="1"/>
                  <a:t>scientist</a:t>
                </a:r>
                <a:r>
                  <a:rPr lang="nl-NL" sz="900"/>
                  <a:t> aannemen</a:t>
                </a:r>
                <a:endParaRPr lang="nl-NL" sz="900" kern="1200"/>
              </a:p>
            </p:txBody>
          </p:sp>
        </p:grpSp>
        <p:grpSp>
          <p:nvGrpSpPr>
            <p:cNvPr id="49" name="Groep 48">
              <a:extLst>
                <a:ext uri="{FF2B5EF4-FFF2-40B4-BE49-F238E27FC236}">
                  <a16:creationId xmlns:a16="http://schemas.microsoft.com/office/drawing/2014/main" id="{F402549A-0843-4C60-B659-1852D09FEAE0}"/>
                </a:ext>
              </a:extLst>
            </p:cNvPr>
            <p:cNvGrpSpPr/>
            <p:nvPr/>
          </p:nvGrpSpPr>
          <p:grpSpPr>
            <a:xfrm>
              <a:off x="3750065" y="2970605"/>
              <a:ext cx="2287835" cy="916790"/>
              <a:chOff x="3660510" y="3382354"/>
              <a:chExt cx="2287835" cy="916790"/>
            </a:xfrm>
          </p:grpSpPr>
          <p:sp>
            <p:nvSpPr>
              <p:cNvPr id="59" name="Pijl: punthaak 58">
                <a:extLst>
                  <a:ext uri="{FF2B5EF4-FFF2-40B4-BE49-F238E27FC236}">
                    <a16:creationId xmlns:a16="http://schemas.microsoft.com/office/drawing/2014/main" id="{FD47207E-E7F7-40BD-99EF-14842B45074F}"/>
                  </a:ext>
                </a:extLst>
              </p:cNvPr>
              <p:cNvSpPr/>
              <p:nvPr/>
            </p:nvSpPr>
            <p:spPr>
              <a:xfrm>
                <a:off x="3660510" y="3382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0" name="Pijl: punthaak 8">
                <a:extLst>
                  <a:ext uri="{FF2B5EF4-FFF2-40B4-BE49-F238E27FC236}">
                    <a16:creationId xmlns:a16="http://schemas.microsoft.com/office/drawing/2014/main" id="{1635269D-DF5E-4279-9F31-4F59A69F26A0}"/>
                  </a:ext>
                </a:extLst>
              </p:cNvPr>
              <p:cNvSpPr txBox="1"/>
              <p:nvPr/>
            </p:nvSpPr>
            <p:spPr>
              <a:xfrm>
                <a:off x="4118905" y="3382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a:t>Vervolgstappen op basis van visie op data</a:t>
                </a:r>
              </a:p>
            </p:txBody>
          </p:sp>
        </p:grpSp>
        <p:grpSp>
          <p:nvGrpSpPr>
            <p:cNvPr id="50" name="Groep 49">
              <a:extLst>
                <a:ext uri="{FF2B5EF4-FFF2-40B4-BE49-F238E27FC236}">
                  <a16:creationId xmlns:a16="http://schemas.microsoft.com/office/drawing/2014/main" id="{285AAE9D-6C5F-48ED-8237-8B37AB24B77F}"/>
                </a:ext>
              </a:extLst>
            </p:cNvPr>
            <p:cNvGrpSpPr/>
            <p:nvPr/>
          </p:nvGrpSpPr>
          <p:grpSpPr>
            <a:xfrm>
              <a:off x="5770717" y="2970605"/>
              <a:ext cx="2287835" cy="916790"/>
              <a:chOff x="5681162" y="3382354"/>
              <a:chExt cx="2287835" cy="916790"/>
            </a:xfrm>
          </p:grpSpPr>
          <p:sp>
            <p:nvSpPr>
              <p:cNvPr id="57" name="Pijl: punthaak 56">
                <a:extLst>
                  <a:ext uri="{FF2B5EF4-FFF2-40B4-BE49-F238E27FC236}">
                    <a16:creationId xmlns:a16="http://schemas.microsoft.com/office/drawing/2014/main" id="{508C9970-4FCD-4480-980E-1C5957A4A6AE}"/>
                  </a:ext>
                </a:extLst>
              </p:cNvPr>
              <p:cNvSpPr/>
              <p:nvPr/>
            </p:nvSpPr>
            <p:spPr>
              <a:xfrm>
                <a:off x="5681162" y="3382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8" name="Pijl: punthaak 10">
                <a:extLst>
                  <a:ext uri="{FF2B5EF4-FFF2-40B4-BE49-F238E27FC236}">
                    <a16:creationId xmlns:a16="http://schemas.microsoft.com/office/drawing/2014/main" id="{46045FE5-3F59-4909-A37A-41012238AC60}"/>
                  </a:ext>
                </a:extLst>
              </p:cNvPr>
              <p:cNvSpPr txBox="1"/>
              <p:nvPr/>
            </p:nvSpPr>
            <p:spPr>
              <a:xfrm>
                <a:off x="6139557" y="3382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a:t>Vervolgstappen op basis van visie op data</a:t>
                </a:r>
              </a:p>
            </p:txBody>
          </p:sp>
        </p:grpSp>
        <p:grpSp>
          <p:nvGrpSpPr>
            <p:cNvPr id="51" name="Groep 50">
              <a:extLst>
                <a:ext uri="{FF2B5EF4-FFF2-40B4-BE49-F238E27FC236}">
                  <a16:creationId xmlns:a16="http://schemas.microsoft.com/office/drawing/2014/main" id="{40C522AE-0150-4BDF-A68B-AFE12265D545}"/>
                </a:ext>
              </a:extLst>
            </p:cNvPr>
            <p:cNvGrpSpPr/>
            <p:nvPr/>
          </p:nvGrpSpPr>
          <p:grpSpPr>
            <a:xfrm>
              <a:off x="7791369" y="2970605"/>
              <a:ext cx="2287835" cy="916790"/>
              <a:chOff x="7701814" y="3382354"/>
              <a:chExt cx="2287835" cy="916790"/>
            </a:xfrm>
          </p:grpSpPr>
          <p:sp>
            <p:nvSpPr>
              <p:cNvPr id="55" name="Pijl: punthaak 54">
                <a:extLst>
                  <a:ext uri="{FF2B5EF4-FFF2-40B4-BE49-F238E27FC236}">
                    <a16:creationId xmlns:a16="http://schemas.microsoft.com/office/drawing/2014/main" id="{1A443CCF-B4CF-460D-B00E-B1DC4391A609}"/>
                  </a:ext>
                </a:extLst>
              </p:cNvPr>
              <p:cNvSpPr/>
              <p:nvPr/>
            </p:nvSpPr>
            <p:spPr>
              <a:xfrm>
                <a:off x="7701814" y="3382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6" name="Pijl: punthaak 12">
                <a:extLst>
                  <a:ext uri="{FF2B5EF4-FFF2-40B4-BE49-F238E27FC236}">
                    <a16:creationId xmlns:a16="http://schemas.microsoft.com/office/drawing/2014/main" id="{EAD0FFD4-44EE-47A8-9C0D-56332979D70C}"/>
                  </a:ext>
                </a:extLst>
              </p:cNvPr>
              <p:cNvSpPr txBox="1"/>
              <p:nvPr/>
            </p:nvSpPr>
            <p:spPr>
              <a:xfrm>
                <a:off x="8160209" y="3382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a:t>Vervolgstappen op basis van visie op data</a:t>
                </a:r>
              </a:p>
            </p:txBody>
          </p:sp>
        </p:grpSp>
        <p:grpSp>
          <p:nvGrpSpPr>
            <p:cNvPr id="52" name="Groep 51">
              <a:extLst>
                <a:ext uri="{FF2B5EF4-FFF2-40B4-BE49-F238E27FC236}">
                  <a16:creationId xmlns:a16="http://schemas.microsoft.com/office/drawing/2014/main" id="{52FCB458-432B-40EA-AD4B-A2C1FB4D718D}"/>
                </a:ext>
              </a:extLst>
            </p:cNvPr>
            <p:cNvGrpSpPr/>
            <p:nvPr/>
          </p:nvGrpSpPr>
          <p:grpSpPr>
            <a:xfrm>
              <a:off x="9812021" y="2970605"/>
              <a:ext cx="2287835" cy="916790"/>
              <a:chOff x="9722466" y="3382354"/>
              <a:chExt cx="2287835" cy="916790"/>
            </a:xfrm>
          </p:grpSpPr>
          <p:sp>
            <p:nvSpPr>
              <p:cNvPr id="53" name="Pijl: punthaak 52">
                <a:extLst>
                  <a:ext uri="{FF2B5EF4-FFF2-40B4-BE49-F238E27FC236}">
                    <a16:creationId xmlns:a16="http://schemas.microsoft.com/office/drawing/2014/main" id="{87E20EF1-0BED-4F25-834A-E3EDAAC09B82}"/>
                  </a:ext>
                </a:extLst>
              </p:cNvPr>
              <p:cNvSpPr/>
              <p:nvPr/>
            </p:nvSpPr>
            <p:spPr>
              <a:xfrm>
                <a:off x="9722466" y="3382354"/>
                <a:ext cx="2287835" cy="916790"/>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4" name="Pijl: punthaak 14">
                <a:extLst>
                  <a:ext uri="{FF2B5EF4-FFF2-40B4-BE49-F238E27FC236}">
                    <a16:creationId xmlns:a16="http://schemas.microsoft.com/office/drawing/2014/main" id="{2DB7C4FA-1AE5-4959-834F-4943A6E7A3DF}"/>
                  </a:ext>
                </a:extLst>
              </p:cNvPr>
              <p:cNvSpPr txBox="1"/>
              <p:nvPr/>
            </p:nvSpPr>
            <p:spPr>
              <a:xfrm>
                <a:off x="10180861" y="3382354"/>
                <a:ext cx="1371045" cy="9167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5715" rIns="0" bIns="5715" numCol="1" spcCol="1270" anchor="ctr" anchorCtr="0">
                <a:noAutofit/>
              </a:bodyPr>
              <a:lstStyle/>
              <a:p>
                <a:pPr algn="ctr" defTabSz="400050">
                  <a:lnSpc>
                    <a:spcPct val="90000"/>
                  </a:lnSpc>
                  <a:spcAft>
                    <a:spcPct val="35000"/>
                  </a:spcAft>
                </a:pPr>
                <a:r>
                  <a:rPr lang="nl-NL" sz="900" err="1"/>
                  <a:t>Process</a:t>
                </a:r>
                <a:r>
                  <a:rPr lang="nl-NL" sz="900"/>
                  <a:t> </a:t>
                </a:r>
                <a:r>
                  <a:rPr lang="nl-NL" sz="900" err="1"/>
                  <a:t>mining</a:t>
                </a:r>
                <a:r>
                  <a:rPr lang="nl-NL" sz="900"/>
                  <a:t> inzetten om processen te verbeteren</a:t>
                </a:r>
              </a:p>
            </p:txBody>
          </p:sp>
        </p:grpSp>
      </p:grpSp>
      <p:sp>
        <p:nvSpPr>
          <p:cNvPr id="3" name="Titel 2">
            <a:extLst>
              <a:ext uri="{FF2B5EF4-FFF2-40B4-BE49-F238E27FC236}">
                <a16:creationId xmlns:a16="http://schemas.microsoft.com/office/drawing/2014/main" id="{A5F1962F-E982-48D2-997C-B57FC8EBB49C}"/>
              </a:ext>
            </a:extLst>
          </p:cNvPr>
          <p:cNvSpPr>
            <a:spLocks noGrp="1"/>
          </p:cNvSpPr>
          <p:nvPr>
            <p:ph type="title"/>
          </p:nvPr>
        </p:nvSpPr>
        <p:spPr>
          <a:xfrm>
            <a:off x="516000" y="0"/>
            <a:ext cx="11160000" cy="1143000"/>
          </a:xfrm>
        </p:spPr>
        <p:txBody>
          <a:bodyPr/>
          <a:lstStyle/>
          <a:p>
            <a:r>
              <a:rPr lang="nl-NL">
                <a:solidFill>
                  <a:srgbClr val="C00000"/>
                </a:solidFill>
              </a:rPr>
              <a:t>Data </a:t>
            </a:r>
            <a:r>
              <a:rPr lang="nl-NL" err="1">
                <a:solidFill>
                  <a:srgbClr val="C00000"/>
                </a:solidFill>
              </a:rPr>
              <a:t>analytics</a:t>
            </a:r>
            <a:r>
              <a:rPr lang="nl-NL">
                <a:solidFill>
                  <a:srgbClr val="C00000"/>
                </a:solidFill>
              </a:rPr>
              <a:t> &amp; </a:t>
            </a:r>
            <a:r>
              <a:rPr lang="nl-NL" err="1">
                <a:solidFill>
                  <a:srgbClr val="C00000"/>
                </a:solidFill>
              </a:rPr>
              <a:t>science</a:t>
            </a:r>
            <a:endParaRPr lang="nl-NL">
              <a:solidFill>
                <a:srgbClr val="C00000"/>
              </a:solidFill>
            </a:endParaRPr>
          </a:p>
        </p:txBody>
      </p:sp>
      <p:graphicFrame>
        <p:nvGraphicFramePr>
          <p:cNvPr id="4" name="Tabel 3">
            <a:extLst>
              <a:ext uri="{FF2B5EF4-FFF2-40B4-BE49-F238E27FC236}">
                <a16:creationId xmlns:a16="http://schemas.microsoft.com/office/drawing/2014/main" id="{EF0B2A5B-E2AD-46D9-B3BE-014547FFC2C1}"/>
              </a:ext>
            </a:extLst>
          </p:cNvPr>
          <p:cNvGraphicFramePr>
            <a:graphicFrameLocks noGrp="1"/>
          </p:cNvGraphicFramePr>
          <p:nvPr>
            <p:extLst>
              <p:ext uri="{D42A27DB-BD31-4B8C-83A1-F6EECF244321}">
                <p14:modId xmlns:p14="http://schemas.microsoft.com/office/powerpoint/2010/main" val="2837571928"/>
              </p:ext>
            </p:extLst>
          </p:nvPr>
        </p:nvGraphicFramePr>
        <p:xfrm>
          <a:off x="516000" y="2700000"/>
          <a:ext cx="11160000" cy="1892106"/>
        </p:xfrm>
        <a:graphic>
          <a:graphicData uri="http://schemas.openxmlformats.org/drawingml/2006/table">
            <a:tbl>
              <a:tblPr firstRow="1" bandRow="1">
                <a:tableStyleId>{5C22544A-7EE6-4342-B048-85BDC9FD1C3A}</a:tableStyleId>
              </a:tblPr>
              <a:tblGrid>
                <a:gridCol w="3321584">
                  <a:extLst>
                    <a:ext uri="{9D8B030D-6E8A-4147-A177-3AD203B41FA5}">
                      <a16:colId xmlns:a16="http://schemas.microsoft.com/office/drawing/2014/main" val="1522049221"/>
                    </a:ext>
                  </a:extLst>
                </a:gridCol>
                <a:gridCol w="2396442">
                  <a:extLst>
                    <a:ext uri="{9D8B030D-6E8A-4147-A177-3AD203B41FA5}">
                      <a16:colId xmlns:a16="http://schemas.microsoft.com/office/drawing/2014/main" val="878232194"/>
                    </a:ext>
                  </a:extLst>
                </a:gridCol>
                <a:gridCol w="2601852">
                  <a:extLst>
                    <a:ext uri="{9D8B030D-6E8A-4147-A177-3AD203B41FA5}">
                      <a16:colId xmlns:a16="http://schemas.microsoft.com/office/drawing/2014/main" val="781806046"/>
                    </a:ext>
                  </a:extLst>
                </a:gridCol>
                <a:gridCol w="2840122">
                  <a:extLst>
                    <a:ext uri="{9D8B030D-6E8A-4147-A177-3AD203B41FA5}">
                      <a16:colId xmlns:a16="http://schemas.microsoft.com/office/drawing/2014/main" val="2570002701"/>
                    </a:ext>
                  </a:extLst>
                </a:gridCol>
              </a:tblGrid>
              <a:tr h="416952">
                <a:tc>
                  <a:txBody>
                    <a:bodyPr/>
                    <a:lstStyle/>
                    <a:p>
                      <a:r>
                        <a:rPr lang="nl-NL" sz="1100"/>
                        <a:t>Doelen 2020</a:t>
                      </a:r>
                    </a:p>
                  </a:txBody>
                  <a:tcPr>
                    <a:solidFill>
                      <a:srgbClr val="C00000"/>
                    </a:solidFill>
                  </a:tcPr>
                </a:tc>
                <a:tc>
                  <a:txBody>
                    <a:bodyPr/>
                    <a:lstStyle/>
                    <a:p>
                      <a:r>
                        <a:rPr lang="nl-NL" sz="1100"/>
                        <a:t>Plan</a:t>
                      </a:r>
                    </a:p>
                  </a:txBody>
                  <a:tcPr>
                    <a:solidFill>
                      <a:srgbClr val="C00000"/>
                    </a:solidFill>
                  </a:tcPr>
                </a:tc>
                <a:tc>
                  <a:txBody>
                    <a:bodyPr/>
                    <a:lstStyle/>
                    <a:p>
                      <a:r>
                        <a:rPr lang="nl-NL" sz="1100"/>
                        <a:t>Techniek</a:t>
                      </a:r>
                    </a:p>
                  </a:txBody>
                  <a:tcPr>
                    <a:solidFill>
                      <a:srgbClr val="C00000"/>
                    </a:solidFill>
                  </a:tcPr>
                </a:tc>
                <a:tc>
                  <a:txBody>
                    <a:bodyPr/>
                    <a:lstStyle/>
                    <a:p>
                      <a:r>
                        <a:rPr lang="nl-NL" sz="1100"/>
                        <a:t>Risico’s</a:t>
                      </a:r>
                    </a:p>
                  </a:txBody>
                  <a:tcPr>
                    <a:solidFill>
                      <a:srgbClr val="C00000"/>
                    </a:solidFill>
                  </a:tcPr>
                </a:tc>
                <a:extLst>
                  <a:ext uri="{0D108BD9-81ED-4DB2-BD59-A6C34878D82A}">
                    <a16:rowId xmlns:a16="http://schemas.microsoft.com/office/drawing/2014/main" val="3874517192"/>
                  </a:ext>
                </a:extLst>
              </a:tr>
              <a:tr h="4403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a:t>Visie op data bepal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a:t>Visie op data</a:t>
                      </a:r>
                    </a:p>
                  </a:txBody>
                  <a:tcPr/>
                </a:tc>
                <a:tc>
                  <a:txBody>
                    <a:bodyPr/>
                    <a:lstStyle/>
                    <a:p>
                      <a:endParaRPr lang="nl-NL" sz="1100"/>
                    </a:p>
                  </a:txBody>
                  <a:tcPr/>
                </a:tc>
                <a:tc>
                  <a:txBody>
                    <a:bodyPr/>
                    <a:lstStyle/>
                    <a:p>
                      <a:endParaRPr lang="nl-NL" sz="1100"/>
                    </a:p>
                  </a:txBody>
                  <a:tcPr/>
                </a:tc>
                <a:extLst>
                  <a:ext uri="{0D108BD9-81ED-4DB2-BD59-A6C34878D82A}">
                    <a16:rowId xmlns:a16="http://schemas.microsoft.com/office/drawing/2014/main" val="2786250067"/>
                  </a:ext>
                </a:extLst>
              </a:tr>
              <a:tr h="440397">
                <a:tc>
                  <a:txBody>
                    <a:bodyPr/>
                    <a:lstStyle/>
                    <a:p>
                      <a:pPr marL="0" indent="0">
                        <a:buFont typeface="Arial" panose="020B0604020202020204" pitchFamily="34" charset="0"/>
                        <a:buNone/>
                      </a:pPr>
                      <a:r>
                        <a:rPr lang="nl-NL" sz="1100"/>
                        <a:t>Verbeteren mogelijkheden van presenteren en visualiseren van 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a:t>Power BI inricht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100"/>
                    </a:p>
                  </a:txBody>
                  <a:tcPr/>
                </a:tc>
                <a:tc>
                  <a:txBody>
                    <a:bodyPr/>
                    <a:lstStyle/>
                    <a:p>
                      <a:r>
                        <a:rPr lang="nl-NL" sz="1100"/>
                        <a:t>Power BI</a:t>
                      </a:r>
                    </a:p>
                  </a:txBody>
                  <a:tcPr/>
                </a:tc>
                <a:tc>
                  <a:txBody>
                    <a:bodyPr/>
                    <a:lstStyle/>
                    <a:p>
                      <a:r>
                        <a:rPr lang="nl-NL" sz="1100"/>
                        <a:t>-</a:t>
                      </a:r>
                    </a:p>
                  </a:txBody>
                  <a:tcPr/>
                </a:tc>
                <a:extLst>
                  <a:ext uri="{0D108BD9-81ED-4DB2-BD59-A6C34878D82A}">
                    <a16:rowId xmlns:a16="http://schemas.microsoft.com/office/drawing/2014/main" val="2315363676"/>
                  </a:ext>
                </a:extLst>
              </a:tr>
              <a:tr h="440397">
                <a:tc>
                  <a:txBody>
                    <a:bodyPr/>
                    <a:lstStyle/>
                    <a:p>
                      <a:pPr marL="0" indent="0">
                        <a:buFont typeface="Arial" panose="020B0604020202020204" pitchFamily="34" charset="0"/>
                        <a:buNone/>
                      </a:pPr>
                      <a:r>
                        <a:rPr lang="nl-NL" sz="1100"/>
                        <a:t>Tweede data </a:t>
                      </a:r>
                      <a:r>
                        <a:rPr lang="nl-NL" sz="1100" err="1"/>
                        <a:t>scientist</a:t>
                      </a:r>
                      <a:r>
                        <a:rPr lang="nl-NL" sz="1100"/>
                        <a:t> aannem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a:t>Wervingsprocedure </a:t>
                      </a:r>
                    </a:p>
                  </a:txBody>
                  <a:tcPr/>
                </a:tc>
                <a:tc>
                  <a:txBody>
                    <a:bodyPr/>
                    <a:lstStyle/>
                    <a:p>
                      <a:r>
                        <a:rPr lang="nl-NL" sz="1100" dirty="0" err="1"/>
                        <a:t>Nvt</a:t>
                      </a:r>
                      <a:endParaRPr lang="nl-NL" sz="1100" dirty="0"/>
                    </a:p>
                  </a:txBody>
                  <a:tcPr/>
                </a:tc>
                <a:tc>
                  <a:txBody>
                    <a:bodyPr/>
                    <a:lstStyle/>
                    <a:p>
                      <a:r>
                        <a:rPr lang="nl-NL" sz="1100" dirty="0"/>
                        <a:t>Overspannen arbeidsmarkt</a:t>
                      </a:r>
                    </a:p>
                  </a:txBody>
                  <a:tcPr/>
                </a:tc>
                <a:extLst>
                  <a:ext uri="{0D108BD9-81ED-4DB2-BD59-A6C34878D82A}">
                    <a16:rowId xmlns:a16="http://schemas.microsoft.com/office/drawing/2014/main" val="817410703"/>
                  </a:ext>
                </a:extLst>
              </a:tr>
            </a:tbl>
          </a:graphicData>
        </a:graphic>
      </p:graphicFrame>
      <p:graphicFrame>
        <p:nvGraphicFramePr>
          <p:cNvPr id="27" name="Tabel 26">
            <a:extLst>
              <a:ext uri="{FF2B5EF4-FFF2-40B4-BE49-F238E27FC236}">
                <a16:creationId xmlns:a16="http://schemas.microsoft.com/office/drawing/2014/main" id="{1DD3BD05-C605-4E37-B041-C6A392023B41}"/>
              </a:ext>
            </a:extLst>
          </p:cNvPr>
          <p:cNvGraphicFramePr>
            <a:graphicFrameLocks noGrp="1"/>
          </p:cNvGraphicFramePr>
          <p:nvPr/>
        </p:nvGraphicFramePr>
        <p:xfrm>
          <a:off x="89554" y="1085850"/>
          <a:ext cx="12012886" cy="274320"/>
        </p:xfrm>
        <a:graphic>
          <a:graphicData uri="http://schemas.openxmlformats.org/drawingml/2006/table">
            <a:tbl>
              <a:tblPr firstRow="1" bandRow="1">
                <a:tableStyleId>{2D5ABB26-0587-4C30-8999-92F81FD0307C}</a:tableStyleId>
              </a:tblPr>
              <a:tblGrid>
                <a:gridCol w="1463021">
                  <a:extLst>
                    <a:ext uri="{9D8B030D-6E8A-4147-A177-3AD203B41FA5}">
                      <a16:colId xmlns:a16="http://schemas.microsoft.com/office/drawing/2014/main" val="3967988472"/>
                    </a:ext>
                  </a:extLst>
                </a:gridCol>
                <a:gridCol w="2109973">
                  <a:extLst>
                    <a:ext uri="{9D8B030D-6E8A-4147-A177-3AD203B41FA5}">
                      <a16:colId xmlns:a16="http://schemas.microsoft.com/office/drawing/2014/main" val="878877256"/>
                    </a:ext>
                  </a:extLst>
                </a:gridCol>
                <a:gridCol w="2109973">
                  <a:extLst>
                    <a:ext uri="{9D8B030D-6E8A-4147-A177-3AD203B41FA5}">
                      <a16:colId xmlns:a16="http://schemas.microsoft.com/office/drawing/2014/main" val="845253564"/>
                    </a:ext>
                  </a:extLst>
                </a:gridCol>
                <a:gridCol w="2109973">
                  <a:extLst>
                    <a:ext uri="{9D8B030D-6E8A-4147-A177-3AD203B41FA5}">
                      <a16:colId xmlns:a16="http://schemas.microsoft.com/office/drawing/2014/main" val="3379797554"/>
                    </a:ext>
                  </a:extLst>
                </a:gridCol>
                <a:gridCol w="2109973">
                  <a:extLst>
                    <a:ext uri="{9D8B030D-6E8A-4147-A177-3AD203B41FA5}">
                      <a16:colId xmlns:a16="http://schemas.microsoft.com/office/drawing/2014/main" val="3294358006"/>
                    </a:ext>
                  </a:extLst>
                </a:gridCol>
                <a:gridCol w="2109973">
                  <a:extLst>
                    <a:ext uri="{9D8B030D-6E8A-4147-A177-3AD203B41FA5}">
                      <a16:colId xmlns:a16="http://schemas.microsoft.com/office/drawing/2014/main" val="1873984557"/>
                    </a:ext>
                  </a:extLst>
                </a:gridCol>
              </a:tblGrid>
              <a:tr h="185421">
                <a:tc>
                  <a:txBody>
                    <a:bodyPr/>
                    <a:lstStyle/>
                    <a:p>
                      <a:pPr algn="ctr"/>
                      <a:endParaRPr lang="nl-NL" sz="1200" b="1">
                        <a:solidFill>
                          <a:srgbClr val="C00000"/>
                        </a:solidFill>
                      </a:endParaRPr>
                    </a:p>
                  </a:txBody>
                  <a:tcPr anchor="ctr"/>
                </a:tc>
                <a:tc>
                  <a:txBody>
                    <a:bodyPr/>
                    <a:lstStyle/>
                    <a:p>
                      <a:pPr algn="ctr"/>
                      <a:r>
                        <a:rPr lang="nl-NL" sz="1200" b="1">
                          <a:solidFill>
                            <a:srgbClr val="C00000"/>
                          </a:solidFill>
                        </a:rPr>
                        <a:t>2020</a:t>
                      </a:r>
                    </a:p>
                  </a:txBody>
                  <a:tcPr anchor="ctr"/>
                </a:tc>
                <a:tc>
                  <a:txBody>
                    <a:bodyPr/>
                    <a:lstStyle/>
                    <a:p>
                      <a:pPr algn="ctr"/>
                      <a:r>
                        <a:rPr lang="nl-NL" sz="1200" b="1">
                          <a:solidFill>
                            <a:srgbClr val="C00000"/>
                          </a:solidFill>
                        </a:rPr>
                        <a:t>2021</a:t>
                      </a:r>
                    </a:p>
                  </a:txBody>
                  <a:tcPr anchor="ctr"/>
                </a:tc>
                <a:tc>
                  <a:txBody>
                    <a:bodyPr/>
                    <a:lstStyle/>
                    <a:p>
                      <a:pPr algn="ctr"/>
                      <a:r>
                        <a:rPr lang="nl-NL" sz="1200" b="1">
                          <a:solidFill>
                            <a:srgbClr val="C00000"/>
                          </a:solidFill>
                        </a:rPr>
                        <a:t>2022</a:t>
                      </a:r>
                    </a:p>
                  </a:txBody>
                  <a:tcPr anchor="ctr"/>
                </a:tc>
                <a:tc>
                  <a:txBody>
                    <a:bodyPr/>
                    <a:lstStyle/>
                    <a:p>
                      <a:pPr algn="ctr"/>
                      <a:r>
                        <a:rPr lang="nl-NL" sz="1200" b="1">
                          <a:solidFill>
                            <a:srgbClr val="C00000"/>
                          </a:solidFill>
                        </a:rPr>
                        <a:t>2023</a:t>
                      </a:r>
                    </a:p>
                  </a:txBody>
                  <a:tcPr anchor="ctr"/>
                </a:tc>
                <a:tc>
                  <a:txBody>
                    <a:bodyPr/>
                    <a:lstStyle/>
                    <a:p>
                      <a:pPr algn="ctr"/>
                      <a:r>
                        <a:rPr lang="nl-NL" sz="1200" b="1">
                          <a:solidFill>
                            <a:srgbClr val="C00000"/>
                          </a:solidFill>
                        </a:rPr>
                        <a:t>2024</a:t>
                      </a:r>
                    </a:p>
                  </a:txBody>
                  <a:tcPr anchor="ctr"/>
                </a:tc>
                <a:extLst>
                  <a:ext uri="{0D108BD9-81ED-4DB2-BD59-A6C34878D82A}">
                    <a16:rowId xmlns:a16="http://schemas.microsoft.com/office/drawing/2014/main" val="2546353752"/>
                  </a:ext>
                </a:extLst>
              </a:tr>
            </a:tbl>
          </a:graphicData>
        </a:graphic>
      </p:graphicFrame>
      <p:sp>
        <p:nvSpPr>
          <p:cNvPr id="31" name="Tekstvak 30">
            <a:extLst>
              <a:ext uri="{FF2B5EF4-FFF2-40B4-BE49-F238E27FC236}">
                <a16:creationId xmlns:a16="http://schemas.microsoft.com/office/drawing/2014/main" id="{427294EB-723F-4A36-B0B1-FA2BFCBB991A}"/>
              </a:ext>
            </a:extLst>
          </p:cNvPr>
          <p:cNvSpPr txBox="1"/>
          <p:nvPr/>
        </p:nvSpPr>
        <p:spPr>
          <a:xfrm>
            <a:off x="502901" y="4661628"/>
            <a:ext cx="11186191" cy="769441"/>
          </a:xfrm>
          <a:prstGeom prst="rect">
            <a:avLst/>
          </a:prstGeom>
          <a:noFill/>
        </p:spPr>
        <p:txBody>
          <a:bodyPr wrap="square" rtlCol="0">
            <a:spAutoFit/>
          </a:bodyPr>
          <a:lstStyle/>
          <a:p>
            <a:r>
              <a:rPr lang="nl-NL" sz="1100" b="1" dirty="0">
                <a:solidFill>
                  <a:srgbClr val="C00000"/>
                </a:solidFill>
                <a:latin typeface="+mn-lt"/>
              </a:rPr>
              <a:t>Toelicht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sz="1100" dirty="0">
                <a:latin typeface="+mn-lt"/>
              </a:rPr>
              <a:t>Het vormen van een visie op data vormt het startpunt op dit onderwerp, omdat het de vervolgstappen voor de komende jaren definieert. Parallel wordt de toepassing van Power BI ingericht, waarmee de mogelijkheden van het presenteren en visualiseren van data verbeteren. Tot slot wordt de formatie verder uitgebreid op het gebied van data </a:t>
            </a:r>
            <a:r>
              <a:rPr lang="nl-NL" sz="1100" dirty="0" err="1">
                <a:latin typeface="+mn-lt"/>
              </a:rPr>
              <a:t>science</a:t>
            </a:r>
            <a:r>
              <a:rPr lang="nl-NL" sz="1100" dirty="0">
                <a:latin typeface="+mn-lt"/>
              </a:rPr>
              <a:t> door een nieuwe data </a:t>
            </a:r>
            <a:r>
              <a:rPr lang="nl-NL" sz="1100" dirty="0" err="1">
                <a:latin typeface="+mn-lt"/>
              </a:rPr>
              <a:t>scientist</a:t>
            </a:r>
            <a:r>
              <a:rPr lang="nl-NL" sz="1100" dirty="0">
                <a:latin typeface="+mn-lt"/>
              </a:rPr>
              <a:t> aan te nemen.</a:t>
            </a:r>
          </a:p>
        </p:txBody>
      </p:sp>
      <p:graphicFrame>
        <p:nvGraphicFramePr>
          <p:cNvPr id="32" name="Diagram 31">
            <a:extLst>
              <a:ext uri="{FF2B5EF4-FFF2-40B4-BE49-F238E27FC236}">
                <a16:creationId xmlns:a16="http://schemas.microsoft.com/office/drawing/2014/main" id="{E0987898-894E-401C-A5C3-8F89CEC1473C}"/>
              </a:ext>
            </a:extLst>
          </p:cNvPr>
          <p:cNvGraphicFramePr/>
          <p:nvPr/>
        </p:nvGraphicFramePr>
        <p:xfrm>
          <a:off x="0" y="-58500"/>
          <a:ext cx="1440000" cy="126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080019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6B6454-AF4D-42F8-9312-49414FC3BC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8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416B6454-AF4D-42F8-9312-49414FC3BC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7DF765A9-8AE0-4667-8CAB-74512A58E1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2" name="Tijdelijke aanduiding voor tekst 1">
            <a:extLst>
              <a:ext uri="{FF2B5EF4-FFF2-40B4-BE49-F238E27FC236}">
                <a16:creationId xmlns:a16="http://schemas.microsoft.com/office/drawing/2014/main" id="{F795B90E-AFC2-4CA3-BAD1-E3E3F6DBBA01}"/>
              </a:ext>
            </a:extLst>
          </p:cNvPr>
          <p:cNvSpPr>
            <a:spLocks noGrp="1"/>
          </p:cNvSpPr>
          <p:nvPr>
            <p:ph type="body" sz="quarter" idx="13"/>
          </p:nvPr>
        </p:nvSpPr>
        <p:spPr/>
        <p:txBody>
          <a:bodyPr/>
          <a:lstStyle/>
          <a:p>
            <a:pPr marL="0" indent="0" algn="l" rtl="0" eaLnBrk="1" fontAlgn="t" latinLnBrk="0" hangingPunct="1">
              <a:spcBef>
                <a:spcPts val="0"/>
              </a:spcBef>
              <a:spcAft>
                <a:spcPts val="0"/>
              </a:spcAft>
            </a:pPr>
            <a:r>
              <a:rPr lang="nl-NL" sz="1100" b="1">
                <a:solidFill>
                  <a:srgbClr val="C00000"/>
                </a:solidFill>
              </a:rPr>
              <a:t>Informatiebeveiliging en privacy</a:t>
            </a:r>
          </a:p>
          <a:p>
            <a:pPr marL="173736" indent="-173736" algn="l" rtl="0" eaLnBrk="1" fontAlgn="t" latinLnBrk="0" hangingPunct="1">
              <a:spcBef>
                <a:spcPts val="0"/>
              </a:spcBef>
              <a:spcAft>
                <a:spcPts val="0"/>
              </a:spcAft>
            </a:pPr>
            <a:r>
              <a:rPr lang="nl-NL" sz="1100"/>
              <a:t>2022: organiseren van een </a:t>
            </a:r>
            <a:r>
              <a:rPr lang="nl-NL" sz="1100" err="1"/>
              <a:t>organisatiebrede</a:t>
            </a:r>
            <a:r>
              <a:rPr lang="nl-NL" sz="1100"/>
              <a:t> cybersecurityoefening</a:t>
            </a:r>
          </a:p>
          <a:p>
            <a:pPr marL="0" algn="l" rtl="0" eaLnBrk="1" fontAlgn="t" latinLnBrk="0" hangingPunct="1">
              <a:spcBef>
                <a:spcPts val="0"/>
              </a:spcBef>
              <a:spcAft>
                <a:spcPts val="0"/>
              </a:spcAft>
            </a:pPr>
            <a:endParaRPr lang="nl-NL" sz="1100"/>
          </a:p>
          <a:p>
            <a:pPr marL="0" algn="l" rtl="0" eaLnBrk="1" fontAlgn="t" latinLnBrk="0" hangingPunct="1">
              <a:spcBef>
                <a:spcPts val="0"/>
              </a:spcBef>
              <a:spcAft>
                <a:spcPts val="0"/>
              </a:spcAft>
            </a:pPr>
            <a:r>
              <a:rPr lang="nl-NL" sz="1100" b="1">
                <a:solidFill>
                  <a:srgbClr val="C00000"/>
                </a:solidFill>
              </a:rPr>
              <a:t>Ketensamenwerking</a:t>
            </a:r>
          </a:p>
          <a:p>
            <a:pPr marL="173736" indent="-173736" algn="l" rtl="0" eaLnBrk="1" fontAlgn="t" latinLnBrk="0" hangingPunct="1">
              <a:spcBef>
                <a:spcPts val="0"/>
              </a:spcBef>
              <a:spcAft>
                <a:spcPts val="0"/>
              </a:spcAft>
            </a:pPr>
            <a:r>
              <a:rPr lang="nl-NL" sz="1100"/>
              <a:t>2022: onderzoek naar de mogelijkheden van open standaarden</a:t>
            </a:r>
          </a:p>
          <a:p>
            <a:pPr marL="173736" indent="-173736" algn="l" rtl="0" eaLnBrk="1" fontAlgn="t" latinLnBrk="0" hangingPunct="1">
              <a:spcBef>
                <a:spcPts val="0"/>
              </a:spcBef>
              <a:spcAft>
                <a:spcPts val="0"/>
              </a:spcAft>
            </a:pPr>
            <a:endParaRPr lang="nl-NL" sz="1100"/>
          </a:p>
          <a:p>
            <a:pPr marL="0" algn="l" rtl="0" eaLnBrk="1" fontAlgn="t" latinLnBrk="0" hangingPunct="1">
              <a:spcBef>
                <a:spcPts val="0"/>
              </a:spcBef>
              <a:spcAft>
                <a:spcPts val="0"/>
              </a:spcAft>
            </a:pPr>
            <a:r>
              <a:rPr lang="nl-NL" sz="1100" b="1">
                <a:solidFill>
                  <a:srgbClr val="C00000"/>
                </a:solidFill>
              </a:rPr>
              <a:t>Zelfhulp</a:t>
            </a:r>
          </a:p>
          <a:p>
            <a:pPr marL="173736" indent="-173736" algn="l" rtl="0" eaLnBrk="1" fontAlgn="t" latinLnBrk="0" hangingPunct="1">
              <a:spcBef>
                <a:spcPts val="0"/>
              </a:spcBef>
              <a:spcAft>
                <a:spcPts val="0"/>
              </a:spcAft>
            </a:pPr>
            <a:r>
              <a:rPr lang="nl-NL" sz="1100"/>
              <a:t>2023: inzetten van chatbots</a:t>
            </a:r>
          </a:p>
          <a:p>
            <a:pPr marL="0" algn="l" rtl="0" eaLnBrk="1" fontAlgn="t" latinLnBrk="0" hangingPunct="1">
              <a:spcBef>
                <a:spcPts val="0"/>
              </a:spcBef>
              <a:spcAft>
                <a:spcPts val="0"/>
              </a:spcAft>
            </a:pPr>
            <a:endParaRPr lang="nl-NL" sz="1100"/>
          </a:p>
          <a:p>
            <a:pPr marL="0" algn="l" rtl="0" eaLnBrk="1" fontAlgn="t" latinLnBrk="0" hangingPunct="1">
              <a:spcBef>
                <a:spcPts val="0"/>
              </a:spcBef>
              <a:spcAft>
                <a:spcPts val="0"/>
              </a:spcAft>
            </a:pPr>
            <a:r>
              <a:rPr lang="nl-NL" sz="1100" b="1">
                <a:solidFill>
                  <a:srgbClr val="C00000"/>
                </a:solidFill>
              </a:rPr>
              <a:t>Werkplekbeheer</a:t>
            </a:r>
          </a:p>
          <a:p>
            <a:pPr marL="173736" indent="-173736" algn="l" rtl="0" eaLnBrk="1" fontAlgn="t" latinLnBrk="0" hangingPunct="1">
              <a:spcBef>
                <a:spcPts val="0"/>
              </a:spcBef>
              <a:spcAft>
                <a:spcPts val="0"/>
              </a:spcAft>
            </a:pPr>
            <a:r>
              <a:rPr lang="nl-NL" sz="1100" i="1"/>
              <a:t>Jaartal nog te bepalen</a:t>
            </a:r>
            <a:r>
              <a:rPr lang="nl-NL" sz="1100"/>
              <a:t>: opzetten van een pilot voor de geïntegreerde samenwerkplek</a:t>
            </a:r>
          </a:p>
        </p:txBody>
      </p:sp>
      <p:sp>
        <p:nvSpPr>
          <p:cNvPr id="3" name="Titel 2">
            <a:extLst>
              <a:ext uri="{FF2B5EF4-FFF2-40B4-BE49-F238E27FC236}">
                <a16:creationId xmlns:a16="http://schemas.microsoft.com/office/drawing/2014/main" id="{3C968991-59E6-4DC7-9192-4B60C9460616}"/>
              </a:ext>
            </a:extLst>
          </p:cNvPr>
          <p:cNvSpPr>
            <a:spLocks noGrp="1"/>
          </p:cNvSpPr>
          <p:nvPr>
            <p:ph type="title"/>
          </p:nvPr>
        </p:nvSpPr>
        <p:spPr/>
        <p:txBody>
          <a:bodyPr/>
          <a:lstStyle/>
          <a:p>
            <a:r>
              <a:rPr lang="nl-NL">
                <a:solidFill>
                  <a:srgbClr val="C00000"/>
                </a:solidFill>
              </a:rPr>
              <a:t>I-Plan 2021-2024 | Ontwikkelpunten</a:t>
            </a:r>
          </a:p>
        </p:txBody>
      </p:sp>
    </p:spTree>
    <p:extLst>
      <p:ext uri="{BB962C8B-B14F-4D97-AF65-F5344CB8AC3E}">
        <p14:creationId xmlns:p14="http://schemas.microsoft.com/office/powerpoint/2010/main" val="19535950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F541-B8E6-4878-9427-18D09C27B5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0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C3A6F541-B8E6-4878-9427-18D09C27B5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hoek 5" hidden="1">
            <a:extLst>
              <a:ext uri="{FF2B5EF4-FFF2-40B4-BE49-F238E27FC236}">
                <a16:creationId xmlns:a16="http://schemas.microsoft.com/office/drawing/2014/main" id="{79198E5B-E34D-4E0D-97A3-193368CEA0C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8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FBC26573-F2AB-4506-8AC8-6254A4434265}"/>
              </a:ext>
            </a:extLst>
          </p:cNvPr>
          <p:cNvSpPr>
            <a:spLocks noGrp="1"/>
          </p:cNvSpPr>
          <p:nvPr>
            <p:ph type="title"/>
          </p:nvPr>
        </p:nvSpPr>
        <p:spPr>
          <a:xfrm>
            <a:off x="720533" y="0"/>
            <a:ext cx="10972800" cy="1143000"/>
          </a:xfrm>
        </p:spPr>
        <p:txBody>
          <a:bodyPr/>
          <a:lstStyle/>
          <a:p>
            <a:r>
              <a:rPr lang="nl-NL">
                <a:solidFill>
                  <a:srgbClr val="C00000"/>
                </a:solidFill>
              </a:rPr>
              <a:t>Referentiematrix</a:t>
            </a:r>
          </a:p>
        </p:txBody>
      </p:sp>
      <p:graphicFrame>
        <p:nvGraphicFramePr>
          <p:cNvPr id="5" name="Tabel 5">
            <a:extLst>
              <a:ext uri="{FF2B5EF4-FFF2-40B4-BE49-F238E27FC236}">
                <a16:creationId xmlns:a16="http://schemas.microsoft.com/office/drawing/2014/main" id="{0C886059-8C1A-4E0C-9DAD-3443DD8D16AA}"/>
              </a:ext>
            </a:extLst>
          </p:cNvPr>
          <p:cNvGraphicFramePr>
            <a:graphicFrameLocks noGrp="1"/>
          </p:cNvGraphicFramePr>
          <p:nvPr>
            <p:extLst>
              <p:ext uri="{D42A27DB-BD31-4B8C-83A1-F6EECF244321}">
                <p14:modId xmlns:p14="http://schemas.microsoft.com/office/powerpoint/2010/main" val="236470032"/>
              </p:ext>
            </p:extLst>
          </p:nvPr>
        </p:nvGraphicFramePr>
        <p:xfrm>
          <a:off x="245999" y="898560"/>
          <a:ext cx="11700003" cy="5882640"/>
        </p:xfrm>
        <a:graphic>
          <a:graphicData uri="http://schemas.openxmlformats.org/drawingml/2006/table">
            <a:tbl>
              <a:tblPr firstRow="1" bandRow="1">
                <a:tableStyleId>{5C22544A-7EE6-4342-B048-85BDC9FD1C3A}</a:tableStyleId>
              </a:tblPr>
              <a:tblGrid>
                <a:gridCol w="1527381">
                  <a:extLst>
                    <a:ext uri="{9D8B030D-6E8A-4147-A177-3AD203B41FA5}">
                      <a16:colId xmlns:a16="http://schemas.microsoft.com/office/drawing/2014/main" val="2415568165"/>
                    </a:ext>
                  </a:extLst>
                </a:gridCol>
                <a:gridCol w="1695437">
                  <a:extLst>
                    <a:ext uri="{9D8B030D-6E8A-4147-A177-3AD203B41FA5}">
                      <a16:colId xmlns:a16="http://schemas.microsoft.com/office/drawing/2014/main" val="473796523"/>
                    </a:ext>
                  </a:extLst>
                </a:gridCol>
                <a:gridCol w="1695437">
                  <a:extLst>
                    <a:ext uri="{9D8B030D-6E8A-4147-A177-3AD203B41FA5}">
                      <a16:colId xmlns:a16="http://schemas.microsoft.com/office/drawing/2014/main" val="1174362873"/>
                    </a:ext>
                  </a:extLst>
                </a:gridCol>
                <a:gridCol w="1695437">
                  <a:extLst>
                    <a:ext uri="{9D8B030D-6E8A-4147-A177-3AD203B41FA5}">
                      <a16:colId xmlns:a16="http://schemas.microsoft.com/office/drawing/2014/main" val="501993047"/>
                    </a:ext>
                  </a:extLst>
                </a:gridCol>
                <a:gridCol w="1695437">
                  <a:extLst>
                    <a:ext uri="{9D8B030D-6E8A-4147-A177-3AD203B41FA5}">
                      <a16:colId xmlns:a16="http://schemas.microsoft.com/office/drawing/2014/main" val="1787232670"/>
                    </a:ext>
                  </a:extLst>
                </a:gridCol>
                <a:gridCol w="1695437">
                  <a:extLst>
                    <a:ext uri="{9D8B030D-6E8A-4147-A177-3AD203B41FA5}">
                      <a16:colId xmlns:a16="http://schemas.microsoft.com/office/drawing/2014/main" val="1532469218"/>
                    </a:ext>
                  </a:extLst>
                </a:gridCol>
                <a:gridCol w="1695437">
                  <a:extLst>
                    <a:ext uri="{9D8B030D-6E8A-4147-A177-3AD203B41FA5}">
                      <a16:colId xmlns:a16="http://schemas.microsoft.com/office/drawing/2014/main" val="3019217494"/>
                    </a:ext>
                  </a:extLst>
                </a:gridCol>
              </a:tblGrid>
              <a:tr h="0">
                <a:tc>
                  <a:txBody>
                    <a:bodyPr/>
                    <a:lstStyle/>
                    <a:p>
                      <a:r>
                        <a:rPr lang="nl-NL" sz="800"/>
                        <a:t>Doelen i-Strategie</a:t>
                      </a:r>
                    </a:p>
                  </a:txBody>
                  <a:tcPr>
                    <a:solidFill>
                      <a:srgbClr val="C00000"/>
                    </a:solidFill>
                  </a:tcPr>
                </a:tc>
                <a:tc>
                  <a:txBody>
                    <a:bodyPr/>
                    <a:lstStyle/>
                    <a:p>
                      <a:r>
                        <a:rPr lang="nl-NL" sz="800"/>
                        <a:t>J&amp;V i-Strategie</a:t>
                      </a:r>
                    </a:p>
                  </a:txBody>
                  <a:tcPr>
                    <a:solidFill>
                      <a:srgbClr val="C00000"/>
                    </a:solidFill>
                  </a:tcPr>
                </a:tc>
                <a:tc>
                  <a:txBody>
                    <a:bodyPr/>
                    <a:lstStyle/>
                    <a:p>
                      <a:r>
                        <a:rPr lang="nl-NL" sz="800"/>
                        <a:t>Digitaliserings-strategie 2.0</a:t>
                      </a:r>
                    </a:p>
                  </a:txBody>
                  <a:tcPr>
                    <a:solidFill>
                      <a:srgbClr val="C00000"/>
                    </a:solidFill>
                  </a:tcPr>
                </a:tc>
                <a:tc>
                  <a:txBody>
                    <a:bodyPr/>
                    <a:lstStyle/>
                    <a:p>
                      <a:r>
                        <a:rPr lang="nl-NL" sz="800"/>
                        <a:t>NL DIGIbeter</a:t>
                      </a:r>
                    </a:p>
                  </a:txBody>
                  <a:tcPr>
                    <a:solidFill>
                      <a:srgbClr val="C00000"/>
                    </a:solidFill>
                  </a:tcPr>
                </a:tc>
                <a:tc>
                  <a:txBody>
                    <a:bodyPr/>
                    <a:lstStyle/>
                    <a:p>
                      <a:r>
                        <a:rPr lang="nl-NL" sz="800"/>
                        <a:t>Strategische i-Agenda Rijksdienst</a:t>
                      </a:r>
                    </a:p>
                  </a:txBody>
                  <a:tcPr>
                    <a:solidFill>
                      <a:srgbClr val="C00000"/>
                    </a:solidFill>
                  </a:tcPr>
                </a:tc>
                <a:tc>
                  <a:txBody>
                    <a:bodyPr/>
                    <a:lstStyle/>
                    <a:p>
                      <a:r>
                        <a:rPr lang="nl-NL" sz="800"/>
                        <a:t>Een betere overheid voor burgers en bedrijven</a:t>
                      </a:r>
                    </a:p>
                  </a:txBody>
                  <a:tcPr>
                    <a:solidFill>
                      <a:srgbClr val="C00000"/>
                    </a:solidFill>
                  </a:tcPr>
                </a:tc>
                <a:tc>
                  <a:txBody>
                    <a:bodyPr/>
                    <a:lstStyle/>
                    <a:p>
                      <a:r>
                        <a:rPr lang="nl-NL" sz="800"/>
                        <a:t>Programmaplan Raad</a:t>
                      </a:r>
                    </a:p>
                  </a:txBody>
                  <a:tcPr>
                    <a:solidFill>
                      <a:srgbClr val="C00000"/>
                    </a:solidFill>
                  </a:tcPr>
                </a:tc>
                <a:extLst>
                  <a:ext uri="{0D108BD9-81ED-4DB2-BD59-A6C34878D82A}">
                    <a16:rowId xmlns:a16="http://schemas.microsoft.com/office/drawing/2014/main" val="1396254620"/>
                  </a:ext>
                </a:extLst>
              </a:tr>
              <a:tr h="154897">
                <a:tc>
                  <a:txBody>
                    <a:bodyPr/>
                    <a:lstStyle/>
                    <a:p>
                      <a:r>
                        <a:rPr lang="nl-NL" sz="800" b="1"/>
                        <a:t>Architectuur</a:t>
                      </a:r>
                    </a:p>
                  </a:txBody>
                  <a:tcPr/>
                </a:tc>
                <a:tc>
                  <a:txBody>
                    <a:bodyPr/>
                    <a:lstStyle/>
                    <a:p>
                      <a:r>
                        <a:rPr lang="nl-NL" sz="800"/>
                        <a:t>Architectuur als hulpmiddel voor samenhang informatievoorziening en reduceren complexiteit</a:t>
                      </a:r>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r>
                        <a:rPr lang="nl-NL" sz="800"/>
                        <a:t>Samenhangende overheidsinfrastructuur.</a:t>
                      </a:r>
                    </a:p>
                  </a:txBody>
                  <a:tcPr/>
                </a:tc>
                <a:tc>
                  <a:txBody>
                    <a:bodyPr/>
                    <a:lstStyle/>
                    <a:p>
                      <a:endParaRPr lang="nl-NL" sz="800"/>
                    </a:p>
                  </a:txBody>
                  <a:tcPr/>
                </a:tc>
                <a:extLst>
                  <a:ext uri="{0D108BD9-81ED-4DB2-BD59-A6C34878D82A}">
                    <a16:rowId xmlns:a16="http://schemas.microsoft.com/office/drawing/2014/main" val="3525547382"/>
                  </a:ext>
                </a:extLst>
              </a:tr>
              <a:tr h="154897">
                <a:tc>
                  <a:txBody>
                    <a:bodyPr/>
                    <a:lstStyle/>
                    <a:p>
                      <a:r>
                        <a:rPr lang="nl-NL" sz="800" b="1"/>
                        <a:t>Informatiebeveiliging en privacy</a:t>
                      </a:r>
                    </a:p>
                  </a:txBody>
                  <a:tcPr/>
                </a:tc>
                <a:tc>
                  <a:txBody>
                    <a:bodyPr/>
                    <a:lstStyle/>
                    <a:p>
                      <a:r>
                        <a:rPr lang="nl-NL" sz="800"/>
                        <a:t>Nederlandse Cyber Security Agenda.</a:t>
                      </a:r>
                    </a:p>
                  </a:txBody>
                  <a:tcPr/>
                </a:tc>
                <a:tc>
                  <a:txBody>
                    <a:bodyPr/>
                    <a:lstStyle/>
                    <a:p>
                      <a:r>
                        <a:rPr lang="nl-NL" sz="800"/>
                        <a:t>Digitale weerbaarheid.</a:t>
                      </a:r>
                    </a:p>
                  </a:txBody>
                  <a:tcPr/>
                </a:tc>
                <a:tc>
                  <a:txBody>
                    <a:bodyPr/>
                    <a:lstStyle/>
                    <a:p>
                      <a:r>
                        <a:rPr lang="nl-NL" sz="800"/>
                        <a:t>Onze dienstverlening maken we persoonlijker</a:t>
                      </a:r>
                    </a:p>
                  </a:txBody>
                  <a:tcPr/>
                </a:tc>
                <a:tc>
                  <a:txBody>
                    <a:bodyPr/>
                    <a:lstStyle/>
                    <a:p>
                      <a:endParaRPr lang="nl-NL" sz="800"/>
                    </a:p>
                  </a:txBody>
                  <a:tcPr/>
                </a:tc>
                <a:tc>
                  <a:txBody>
                    <a:bodyPr/>
                    <a:lstStyle/>
                    <a:p>
                      <a:endParaRPr lang="nl-NL" sz="800"/>
                    </a:p>
                  </a:txBody>
                  <a:tcPr/>
                </a:tc>
                <a:tc>
                  <a:txBody>
                    <a:bodyPr/>
                    <a:lstStyle/>
                    <a:p>
                      <a:endParaRPr lang="nl-NL" sz="800"/>
                    </a:p>
                  </a:txBody>
                  <a:tcPr/>
                </a:tc>
                <a:extLst>
                  <a:ext uri="{0D108BD9-81ED-4DB2-BD59-A6C34878D82A}">
                    <a16:rowId xmlns:a16="http://schemas.microsoft.com/office/drawing/2014/main" val="2181303064"/>
                  </a:ext>
                </a:extLst>
              </a:tr>
              <a:tr h="154897">
                <a:tc>
                  <a:txBody>
                    <a:bodyPr/>
                    <a:lstStyle/>
                    <a:p>
                      <a:r>
                        <a:rPr lang="nl-NL" sz="800" b="1"/>
                        <a:t>Moderniser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a:t>Loslaten van papieren processen om tot procesherontwerp te komen.</a:t>
                      </a:r>
                    </a:p>
                  </a:txBody>
                  <a:tcPr/>
                </a:tc>
                <a:tc>
                  <a:txBody>
                    <a:bodyPr/>
                    <a:lstStyle/>
                    <a:p>
                      <a:r>
                        <a:rPr lang="nl-NL" sz="800"/>
                        <a:t>Digitale inclusie.</a:t>
                      </a:r>
                    </a:p>
                  </a:txBody>
                  <a:tcPr/>
                </a:tc>
                <a:tc>
                  <a:txBody>
                    <a:bodyPr/>
                    <a:lstStyle/>
                    <a:p>
                      <a:r>
                        <a:rPr lang="nl-NL" sz="800"/>
                        <a:t>Toegankelijk, begrijpelijk en voor iedereen.</a:t>
                      </a:r>
                    </a:p>
                  </a:txBody>
                  <a:tcPr/>
                </a:tc>
                <a:tc>
                  <a:txBody>
                    <a:bodyPr/>
                    <a:lstStyle/>
                    <a:p>
                      <a:endParaRPr lang="nl-NL" sz="800"/>
                    </a:p>
                  </a:txBody>
                  <a:tcPr/>
                </a:tc>
                <a:tc>
                  <a:txBody>
                    <a:bodyPr/>
                    <a:lstStyle/>
                    <a:p>
                      <a:r>
                        <a:rPr lang="nl-NL" sz="800"/>
                        <a:t>Inclusieve dienstverlening. Oplossen technische achterstand met oog op hedendaagse dienstverlening.</a:t>
                      </a:r>
                    </a:p>
                  </a:txBody>
                  <a:tcPr/>
                </a:tc>
                <a:tc>
                  <a:txBody>
                    <a:bodyPr/>
                    <a:lstStyle/>
                    <a:p>
                      <a:endParaRPr lang="nl-NL" sz="800"/>
                    </a:p>
                  </a:txBody>
                  <a:tcPr/>
                </a:tc>
                <a:extLst>
                  <a:ext uri="{0D108BD9-81ED-4DB2-BD59-A6C34878D82A}">
                    <a16:rowId xmlns:a16="http://schemas.microsoft.com/office/drawing/2014/main" val="3550476368"/>
                  </a:ext>
                </a:extLst>
              </a:tr>
              <a:tr h="306998">
                <a:tc>
                  <a:txBody>
                    <a:bodyPr/>
                    <a:lstStyle/>
                    <a:p>
                      <a:r>
                        <a:rPr lang="nl-NL" sz="800" b="1"/>
                        <a:t>Digitalisering</a:t>
                      </a:r>
                    </a:p>
                  </a:txBody>
                  <a:tcPr/>
                </a:tc>
                <a:tc>
                  <a:txBody>
                    <a:bodyPr/>
                    <a:lstStyle/>
                    <a:p>
                      <a:r>
                        <a:rPr lang="nl-NL" sz="800"/>
                        <a:t>Digitalisering van bestaande processen.</a:t>
                      </a:r>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extLst>
                  <a:ext uri="{0D108BD9-81ED-4DB2-BD59-A6C34878D82A}">
                    <a16:rowId xmlns:a16="http://schemas.microsoft.com/office/drawing/2014/main" val="2392185948"/>
                  </a:ext>
                </a:extLst>
              </a:tr>
              <a:tr h="154897">
                <a:tc>
                  <a:txBody>
                    <a:bodyPr/>
                    <a:lstStyle/>
                    <a:p>
                      <a:r>
                        <a:rPr lang="nl-NL" sz="800" b="1"/>
                        <a:t>Organisatie</a:t>
                      </a:r>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r>
                        <a:rPr lang="nl-NL" sz="800"/>
                        <a:t>Kennis en kunde.</a:t>
                      </a:r>
                    </a:p>
                    <a:p>
                      <a:r>
                        <a:rPr lang="nl-NL" sz="800"/>
                        <a:t>Governance op 1.</a:t>
                      </a:r>
                    </a:p>
                  </a:txBody>
                  <a:tcPr/>
                </a:tc>
                <a:tc>
                  <a:txBody>
                    <a:bodyPr/>
                    <a:lstStyle/>
                    <a:p>
                      <a:r>
                        <a:rPr lang="nl-NL" sz="800"/>
                        <a:t>Kennis en kunde overheid.</a:t>
                      </a:r>
                    </a:p>
                  </a:txBody>
                  <a:tcPr/>
                </a:tc>
                <a:tc>
                  <a:txBody>
                    <a:bodyPr/>
                    <a:lstStyle/>
                    <a:p>
                      <a:endParaRPr lang="nl-NL" sz="800"/>
                    </a:p>
                  </a:txBody>
                  <a:tcPr/>
                </a:tc>
                <a:extLst>
                  <a:ext uri="{0D108BD9-81ED-4DB2-BD59-A6C34878D82A}">
                    <a16:rowId xmlns:a16="http://schemas.microsoft.com/office/drawing/2014/main" val="3607357109"/>
                  </a:ext>
                </a:extLst>
              </a:tr>
              <a:tr h="154897">
                <a:tc>
                  <a:txBody>
                    <a:bodyPr/>
                    <a:lstStyle/>
                    <a:p>
                      <a:r>
                        <a:rPr lang="nl-NL" sz="800" b="1"/>
                        <a:t>Ketensamenwerking</a:t>
                      </a:r>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r>
                        <a:rPr lang="nl-NL" sz="800"/>
                        <a:t>Complexiteitsreductie door samenhang in dienstverlening.</a:t>
                      </a:r>
                    </a:p>
                  </a:txBody>
                  <a:tcPr/>
                </a:tc>
                <a:tc>
                  <a:txBody>
                    <a:bodyPr/>
                    <a:lstStyle/>
                    <a:p>
                      <a:r>
                        <a:rPr lang="nl-NL" sz="800"/>
                        <a:t>Programmaplan Raad: ketensamenwerking.</a:t>
                      </a:r>
                    </a:p>
                  </a:txBody>
                  <a:tcPr/>
                </a:tc>
                <a:extLst>
                  <a:ext uri="{0D108BD9-81ED-4DB2-BD59-A6C34878D82A}">
                    <a16:rowId xmlns:a16="http://schemas.microsoft.com/office/drawing/2014/main" val="3181795935"/>
                  </a:ext>
                </a:extLst>
              </a:tr>
              <a:tr h="154897">
                <a:tc>
                  <a:txBody>
                    <a:bodyPr/>
                    <a:lstStyle/>
                    <a:p>
                      <a:r>
                        <a:rPr lang="nl-NL" sz="800" b="1"/>
                        <a:t>Automatisering</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a:t>Artificiële intelligentie.</a:t>
                      </a:r>
                    </a:p>
                  </a:txBody>
                  <a:tcPr/>
                </a:tc>
                <a:tc>
                  <a:txBody>
                    <a:bodyPr/>
                    <a:lstStyle/>
                    <a:p>
                      <a:endParaRPr lang="nl-NL" sz="800"/>
                    </a:p>
                  </a:txBody>
                  <a:tcPr/>
                </a:tc>
                <a:tc>
                  <a:txBody>
                    <a:bodyPr/>
                    <a:lstStyle/>
                    <a:p>
                      <a:endParaRPr lang="nl-NL" sz="800"/>
                    </a:p>
                  </a:txBody>
                  <a:tcPr/>
                </a:tc>
                <a:tc>
                  <a:txBody>
                    <a:bodyPr/>
                    <a:lstStyle/>
                    <a:p>
                      <a:r>
                        <a:rPr lang="nl-NL" sz="800"/>
                        <a:t>Innovatie</a:t>
                      </a:r>
                    </a:p>
                  </a:txBody>
                  <a:tcPr/>
                </a:tc>
                <a:tc>
                  <a:txBody>
                    <a:bodyPr/>
                    <a:lstStyle/>
                    <a:p>
                      <a:endParaRPr lang="nl-NL" sz="800"/>
                    </a:p>
                  </a:txBody>
                  <a:tcPr/>
                </a:tc>
                <a:extLst>
                  <a:ext uri="{0D108BD9-81ED-4DB2-BD59-A6C34878D82A}">
                    <a16:rowId xmlns:a16="http://schemas.microsoft.com/office/drawing/2014/main" val="538114655"/>
                  </a:ext>
                </a:extLst>
              </a:tr>
              <a:tr h="154897">
                <a:tc>
                  <a:txBody>
                    <a:bodyPr/>
                    <a:lstStyle/>
                    <a:p>
                      <a:r>
                        <a:rPr lang="nl-NL" sz="800" b="1"/>
                        <a:t>Zelfhulp</a:t>
                      </a:r>
                    </a:p>
                  </a:txBody>
                  <a:tcPr/>
                </a:tc>
                <a:tc>
                  <a:txBody>
                    <a:bodyPr/>
                    <a:lstStyle/>
                    <a:p>
                      <a:r>
                        <a:rPr lang="nl-NL" sz="800"/>
                        <a:t>Introductie van selfservice-concepten die klanten tijd besparen</a:t>
                      </a:r>
                    </a:p>
                  </a:txBody>
                  <a:tcPr/>
                </a:tc>
                <a:tc>
                  <a:txBody>
                    <a:bodyPr/>
                    <a:lstStyle/>
                    <a:p>
                      <a:r>
                        <a:rPr lang="nl-NL" sz="800"/>
                        <a:t>Artificiële intelligentie.</a:t>
                      </a:r>
                    </a:p>
                  </a:txBody>
                  <a:tcPr/>
                </a:tc>
                <a:tc>
                  <a:txBody>
                    <a:bodyPr/>
                    <a:lstStyle/>
                    <a:p>
                      <a:r>
                        <a:rPr lang="nl-NL" sz="800"/>
                        <a:t>Onze dienstverlening maken we persoonlijker.</a:t>
                      </a:r>
                    </a:p>
                  </a:txBody>
                  <a:tcPr/>
                </a:tc>
                <a:tc>
                  <a:txBody>
                    <a:bodyPr/>
                    <a:lstStyle/>
                    <a:p>
                      <a:endParaRPr lang="nl-NL" sz="800"/>
                    </a:p>
                  </a:txBody>
                  <a:tcPr/>
                </a:tc>
                <a:tc>
                  <a:txBody>
                    <a:bodyPr/>
                    <a:lstStyle/>
                    <a:p>
                      <a:r>
                        <a:rPr lang="nl-NL" sz="800"/>
                        <a:t>Versterken </a:t>
                      </a:r>
                      <a:r>
                        <a:rPr lang="nl-NL" sz="800" err="1"/>
                        <a:t>doenvermogen</a:t>
                      </a:r>
                      <a:r>
                        <a:rPr lang="nl-NL" sz="800"/>
                        <a:t>. Innovatie.</a:t>
                      </a:r>
                    </a:p>
                  </a:txBody>
                  <a:tcPr/>
                </a:tc>
                <a:tc>
                  <a:txBody>
                    <a:bodyPr/>
                    <a:lstStyle/>
                    <a:p>
                      <a:endParaRPr lang="nl-NL" sz="800"/>
                    </a:p>
                  </a:txBody>
                  <a:tcPr/>
                </a:tc>
                <a:extLst>
                  <a:ext uri="{0D108BD9-81ED-4DB2-BD59-A6C34878D82A}">
                    <a16:rowId xmlns:a16="http://schemas.microsoft.com/office/drawing/2014/main" val="146521869"/>
                  </a:ext>
                </a:extLst>
              </a:tr>
              <a:tr h="154897">
                <a:tc>
                  <a:txBody>
                    <a:bodyPr/>
                    <a:lstStyle/>
                    <a:p>
                      <a:r>
                        <a:rPr lang="nl-NL" sz="800" b="1"/>
                        <a:t>Infrastructuur</a:t>
                      </a:r>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extLst>
                  <a:ext uri="{0D108BD9-81ED-4DB2-BD59-A6C34878D82A}">
                    <a16:rowId xmlns:a16="http://schemas.microsoft.com/office/drawing/2014/main" val="826659268"/>
                  </a:ext>
                </a:extLst>
              </a:tr>
              <a:tr h="154897">
                <a:tc>
                  <a:txBody>
                    <a:bodyPr/>
                    <a:lstStyle/>
                    <a:p>
                      <a:r>
                        <a:rPr lang="nl-NL" sz="800" b="1"/>
                        <a:t>Werkplekbeheer</a:t>
                      </a:r>
                    </a:p>
                  </a:txBody>
                  <a:tcPr/>
                </a:tc>
                <a:tc>
                  <a:txBody>
                    <a:bodyPr/>
                    <a:lstStyle/>
                    <a:p>
                      <a:r>
                        <a:rPr lang="nl-NL" sz="800"/>
                        <a:t>Medewerkers kunnen veilig en betrouwbaar plaatsonafhankelijk werken</a:t>
                      </a:r>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tc>
                  <a:txBody>
                    <a:bodyPr/>
                    <a:lstStyle/>
                    <a:p>
                      <a:endParaRPr lang="nl-NL" sz="800"/>
                    </a:p>
                  </a:txBody>
                  <a:tcPr/>
                </a:tc>
                <a:extLst>
                  <a:ext uri="{0D108BD9-81ED-4DB2-BD59-A6C34878D82A}">
                    <a16:rowId xmlns:a16="http://schemas.microsoft.com/office/drawing/2014/main" val="2017481787"/>
                  </a:ext>
                </a:extLst>
              </a:tr>
              <a:tr h="154897">
                <a:tc>
                  <a:txBody>
                    <a:bodyPr/>
                    <a:lstStyle/>
                    <a:p>
                      <a:r>
                        <a:rPr lang="nl-NL" sz="800" b="1"/>
                        <a:t>Data-allianties</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Data benutten voor maatschappelijke opgaven.</a:t>
                      </a:r>
                    </a:p>
                  </a:txBody>
                  <a:tcPr/>
                </a:tc>
                <a:tc>
                  <a:txBody>
                    <a:bodyPr/>
                    <a:lstStyle/>
                    <a:p>
                      <a:r>
                        <a:rPr lang="nl-NL" sz="800"/>
                        <a:t>We investeren in innovatie.</a:t>
                      </a:r>
                    </a:p>
                    <a:p>
                      <a:r>
                        <a:rPr lang="nl-NL" sz="800"/>
                        <a:t>Onze dienstverlening maken we persoonlijker.</a:t>
                      </a:r>
                    </a:p>
                  </a:txBody>
                  <a:tcPr/>
                </a:tc>
                <a:tc>
                  <a:txBody>
                    <a:bodyPr/>
                    <a:lstStyle/>
                    <a:p>
                      <a:r>
                        <a:rPr lang="nl-NL" sz="800"/>
                        <a:t>Informatie en data.</a:t>
                      </a:r>
                    </a:p>
                  </a:txBody>
                  <a:tcPr/>
                </a:tc>
                <a:tc>
                  <a:txBody>
                    <a:bodyPr/>
                    <a:lstStyle/>
                    <a:p>
                      <a:endParaRPr lang="nl-NL" sz="800"/>
                    </a:p>
                  </a:txBody>
                  <a:tcPr/>
                </a:tc>
                <a:tc>
                  <a:txBody>
                    <a:bodyPr/>
                    <a:lstStyle/>
                    <a:p>
                      <a:r>
                        <a:rPr lang="nl-NL" sz="800"/>
                        <a:t>Programmaplan Raad: Kenniscentrum, Datadialogen</a:t>
                      </a:r>
                    </a:p>
                  </a:txBody>
                  <a:tcPr/>
                </a:tc>
                <a:extLst>
                  <a:ext uri="{0D108BD9-81ED-4DB2-BD59-A6C34878D82A}">
                    <a16:rowId xmlns:a16="http://schemas.microsoft.com/office/drawing/2014/main" val="1331306832"/>
                  </a:ext>
                </a:extLst>
              </a:tr>
              <a:tr h="154897">
                <a:tc>
                  <a:txBody>
                    <a:bodyPr/>
                    <a:lstStyle/>
                    <a:p>
                      <a:r>
                        <a:rPr lang="nl-NL" sz="800" b="1"/>
                        <a:t>Onbetwistbare data</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Data benutten voor maatschappelijke opgaven.</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Informatie en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800" b="0" i="0" u="none" strike="noStrike" kern="1200" cap="none" spc="0" normalizeH="0" baseline="0" noProof="0">
                        <a:ln>
                          <a:noFill/>
                        </a:ln>
                        <a:solidFill>
                          <a:srgbClr val="000000"/>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Programmaplan Raad: Kenniscentrum, Datadialogen</a:t>
                      </a:r>
                    </a:p>
                  </a:txBody>
                  <a:tcPr/>
                </a:tc>
                <a:extLst>
                  <a:ext uri="{0D108BD9-81ED-4DB2-BD59-A6C34878D82A}">
                    <a16:rowId xmlns:a16="http://schemas.microsoft.com/office/drawing/2014/main" val="4217993675"/>
                  </a:ext>
                </a:extLst>
              </a:tr>
              <a:tr h="154897">
                <a:tc>
                  <a:txBody>
                    <a:bodyPr/>
                    <a:lstStyle/>
                    <a:p>
                      <a:r>
                        <a:rPr lang="nl-NL" sz="800" b="1"/>
                        <a:t>Data warehousing</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a:t>Data benutten voor maatschappelijke opgaven.</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Informatie en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800" b="0" i="0" u="none" strike="noStrike" kern="1200" cap="none" spc="0" normalizeH="0" baseline="0" noProof="0">
                        <a:ln>
                          <a:noFill/>
                        </a:ln>
                        <a:solidFill>
                          <a:srgbClr val="000000"/>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Programmaplan Raad: Kenniscentrum, Datadialogen</a:t>
                      </a:r>
                    </a:p>
                  </a:txBody>
                  <a:tcPr/>
                </a:tc>
                <a:extLst>
                  <a:ext uri="{0D108BD9-81ED-4DB2-BD59-A6C34878D82A}">
                    <a16:rowId xmlns:a16="http://schemas.microsoft.com/office/drawing/2014/main" val="2099544329"/>
                  </a:ext>
                </a:extLst>
              </a:tr>
              <a:tr h="154897">
                <a:tc>
                  <a:txBody>
                    <a:bodyPr/>
                    <a:lstStyle/>
                    <a:p>
                      <a:r>
                        <a:rPr lang="nl-NL" sz="800" b="1" dirty="0"/>
                        <a:t>Data </a:t>
                      </a:r>
                      <a:r>
                        <a:rPr lang="nl-NL" sz="800" b="1" dirty="0" err="1"/>
                        <a:t>analytics</a:t>
                      </a:r>
                      <a:r>
                        <a:rPr lang="nl-NL" sz="800" b="1" dirty="0"/>
                        <a:t> &amp; </a:t>
                      </a:r>
                      <a:r>
                        <a:rPr lang="nl-NL" sz="800" b="1" dirty="0" err="1"/>
                        <a:t>science</a:t>
                      </a:r>
                      <a:endParaRPr lang="nl-NL" sz="800" b="1" dirty="0"/>
                    </a:p>
                  </a:txBody>
                  <a:tcPr/>
                </a:tc>
                <a:tc>
                  <a:txBody>
                    <a:bodyPr/>
                    <a:lstStyle/>
                    <a:p>
                      <a:endParaRPr lang="nl-NL" sz="800"/>
                    </a:p>
                  </a:txBody>
                  <a:tcPr/>
                </a:tc>
                <a:tc>
                  <a:txBody>
                    <a:bodyPr/>
                    <a:lstStyle/>
                    <a:p>
                      <a:r>
                        <a:rPr lang="nl-NL" sz="800"/>
                        <a:t>Data benutten voor maatschappelijke opgaven.</a:t>
                      </a:r>
                    </a:p>
                  </a:txBody>
                  <a:tcPr/>
                </a:tc>
                <a:tc>
                  <a:txBody>
                    <a:bodyPr/>
                    <a:lstStyle/>
                    <a:p>
                      <a:endParaRPr lang="nl-NL" sz="8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Informatie en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Verdana"/>
                          <a:ea typeface="+mn-ea"/>
                          <a:cs typeface="+mn-cs"/>
                        </a:rPr>
                        <a:t>Monitoring en benchmarking van dienstverle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a:ln>
                            <a:noFill/>
                          </a:ln>
                          <a:solidFill>
                            <a:srgbClr val="000000"/>
                          </a:solidFill>
                          <a:effectLst/>
                          <a:uLnTx/>
                          <a:uFillTx/>
                          <a:latin typeface="Verdana"/>
                          <a:ea typeface="+mn-ea"/>
                          <a:cs typeface="+mn-cs"/>
                        </a:rPr>
                        <a:t>Programmaplan Raad: Kenniscentrum, Datadialogen</a:t>
                      </a:r>
                    </a:p>
                  </a:txBody>
                  <a:tcPr/>
                </a:tc>
                <a:extLst>
                  <a:ext uri="{0D108BD9-81ED-4DB2-BD59-A6C34878D82A}">
                    <a16:rowId xmlns:a16="http://schemas.microsoft.com/office/drawing/2014/main" val="2465607674"/>
                  </a:ext>
                </a:extLst>
              </a:tr>
            </a:tbl>
          </a:graphicData>
        </a:graphic>
      </p:graphicFrame>
    </p:spTree>
    <p:extLst>
      <p:ext uri="{BB962C8B-B14F-4D97-AF65-F5344CB8AC3E}">
        <p14:creationId xmlns:p14="http://schemas.microsoft.com/office/powerpoint/2010/main" val="2225915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46A421-C202-4EAB-9D12-0BDFE1E06321}"/>
              </a:ext>
            </a:extLst>
          </p:cNvPr>
          <p:cNvGraphicFramePr>
            <a:graphicFrameLocks noChangeAspect="1"/>
          </p:cNvGraphicFramePr>
          <p:nvPr>
            <p:custDataLst>
              <p:tags r:id="rId2"/>
            </p:custDataLst>
            <p:extLst>
              <p:ext uri="{D42A27DB-BD31-4B8C-83A1-F6EECF244321}">
                <p14:modId xmlns:p14="http://schemas.microsoft.com/office/powerpoint/2010/main" val="1901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7F46A421-C202-4EAB-9D12-0BDFE1E063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A45F2907-C568-4C5A-902F-0029290908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5DF2EBD0-975A-4A21-966D-9E21656F545E}"/>
              </a:ext>
            </a:extLst>
          </p:cNvPr>
          <p:cNvSpPr>
            <a:spLocks noGrp="1"/>
          </p:cNvSpPr>
          <p:nvPr>
            <p:ph type="title"/>
          </p:nvPr>
        </p:nvSpPr>
        <p:spPr>
          <a:xfrm>
            <a:off x="516000" y="0"/>
            <a:ext cx="11160000" cy="1143000"/>
          </a:xfrm>
        </p:spPr>
        <p:txBody>
          <a:bodyPr/>
          <a:lstStyle/>
          <a:p>
            <a:r>
              <a:rPr lang="nl-NL" sz="4000">
                <a:solidFill>
                  <a:srgbClr val="C00000"/>
                </a:solidFill>
              </a:rPr>
              <a:t>Toekomst</a:t>
            </a:r>
            <a:br>
              <a:rPr lang="nl-NL" sz="4000">
                <a:solidFill>
                  <a:srgbClr val="C00000"/>
                </a:solidFill>
              </a:rPr>
            </a:br>
            <a:r>
              <a:rPr lang="nl-NL" sz="2000">
                <a:solidFill>
                  <a:schemeClr val="tx1"/>
                </a:solidFill>
              </a:rPr>
              <a:t>De Raad maakt zich klaar om ook in de toekomst de burger centraal te stellen</a:t>
            </a:r>
          </a:p>
        </p:txBody>
      </p:sp>
      <p:sp>
        <p:nvSpPr>
          <p:cNvPr id="7" name="Tijdelijke aanduiding voor inhoud 8">
            <a:extLst>
              <a:ext uri="{FF2B5EF4-FFF2-40B4-BE49-F238E27FC236}">
                <a16:creationId xmlns:a16="http://schemas.microsoft.com/office/drawing/2014/main" id="{F5E9762A-3288-424E-A214-8B98B25B22A6}"/>
              </a:ext>
            </a:extLst>
          </p:cNvPr>
          <p:cNvSpPr txBox="1">
            <a:spLocks/>
          </p:cNvSpPr>
          <p:nvPr/>
        </p:nvSpPr>
        <p:spPr>
          <a:xfrm>
            <a:off x="6197600" y="1600201"/>
            <a:ext cx="5673558" cy="4525963"/>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just">
              <a:buFontTx/>
              <a:buNone/>
            </a:pPr>
            <a:r>
              <a:rPr lang="nl-NL" sz="1600" kern="0" dirty="0"/>
              <a:t>Het is nog niet volledig duidelijk hoe de toekomst eruit zal zien, maar om klaar te zijn voor die toekomst heeft de Raad voor Rechtsbijstand zich een viertal doelen gesteld. Hierin stelt de RvR zich op als een lerende organisatie.</a:t>
            </a:r>
          </a:p>
          <a:p>
            <a:pPr marL="0" indent="0" algn="just">
              <a:buFontTx/>
              <a:buNone/>
            </a:pPr>
            <a:endParaRPr lang="nl-NL" sz="1600" kern="0" dirty="0"/>
          </a:p>
          <a:p>
            <a:pPr marL="0" indent="0" algn="just">
              <a:buFontTx/>
              <a:buNone/>
            </a:pPr>
            <a:r>
              <a:rPr lang="nl-NL" sz="1600" kern="0" dirty="0"/>
              <a:t>De Raad is een </a:t>
            </a:r>
            <a:r>
              <a:rPr lang="nl-NL" sz="1600" b="1" kern="0" dirty="0">
                <a:solidFill>
                  <a:srgbClr val="C00000"/>
                </a:solidFill>
              </a:rPr>
              <a:t>excellente uitvoerder </a:t>
            </a:r>
            <a:r>
              <a:rPr lang="nl-NL" sz="1600" kern="0" dirty="0"/>
              <a:t>in de keten van de rechtsbijstand.</a:t>
            </a:r>
          </a:p>
          <a:p>
            <a:pPr marL="0" indent="0" algn="just">
              <a:buFontTx/>
              <a:buNone/>
            </a:pPr>
            <a:endParaRPr lang="nl-NL" sz="1600" kern="0" dirty="0"/>
          </a:p>
          <a:p>
            <a:pPr marL="0" indent="0" algn="just">
              <a:buFontTx/>
              <a:buNone/>
            </a:pPr>
            <a:r>
              <a:rPr lang="nl-NL" sz="1600" kern="0" dirty="0"/>
              <a:t>De Raad is een </a:t>
            </a:r>
            <a:r>
              <a:rPr lang="nl-NL" sz="1600" b="1" kern="0" dirty="0">
                <a:solidFill>
                  <a:srgbClr val="C00000"/>
                </a:solidFill>
              </a:rPr>
              <a:t>wendbare organisatie </a:t>
            </a:r>
            <a:r>
              <a:rPr lang="nl-NL" sz="1600" kern="0" dirty="0"/>
              <a:t>die snel kan inspelen op veranderingen in de toekomst.</a:t>
            </a:r>
          </a:p>
          <a:p>
            <a:pPr marL="0" indent="0" algn="just">
              <a:buFontTx/>
              <a:buNone/>
            </a:pPr>
            <a:endParaRPr lang="nl-NL" sz="1600" kern="0" dirty="0"/>
          </a:p>
          <a:p>
            <a:pPr marL="0" indent="0" algn="just">
              <a:buFontTx/>
              <a:buNone/>
            </a:pPr>
            <a:r>
              <a:rPr lang="nl-NL" sz="1600" kern="0" dirty="0"/>
              <a:t>De Raad is een </a:t>
            </a:r>
            <a:r>
              <a:rPr lang="nl-NL" sz="1600" b="1" kern="0" dirty="0">
                <a:solidFill>
                  <a:srgbClr val="C00000"/>
                </a:solidFill>
              </a:rPr>
              <a:t>vraaggerichte organisatie </a:t>
            </a:r>
            <a:r>
              <a:rPr lang="nl-NL" sz="1600" kern="0" dirty="0"/>
              <a:t>die proactief klaarstaat voor de burger.</a:t>
            </a:r>
          </a:p>
          <a:p>
            <a:pPr marL="0" indent="0" algn="just">
              <a:buFontTx/>
              <a:buNone/>
            </a:pPr>
            <a:endParaRPr lang="nl-NL" sz="1600" kern="0" dirty="0"/>
          </a:p>
          <a:p>
            <a:pPr marL="0" indent="0" algn="just">
              <a:buFontTx/>
              <a:buNone/>
            </a:pPr>
            <a:r>
              <a:rPr lang="nl-NL" sz="1600" kern="0" dirty="0"/>
              <a:t>De Raad is een </a:t>
            </a:r>
            <a:r>
              <a:rPr lang="nl-NL" sz="1600" b="1" kern="0" dirty="0">
                <a:solidFill>
                  <a:srgbClr val="C00000"/>
                </a:solidFill>
              </a:rPr>
              <a:t>kenniscentrum</a:t>
            </a:r>
            <a:r>
              <a:rPr lang="nl-NL" sz="1600" kern="0" dirty="0"/>
              <a:t> voor de organisatie en keten op basis van data en informatie.</a:t>
            </a:r>
          </a:p>
        </p:txBody>
      </p:sp>
      <p:pic>
        <p:nvPicPr>
          <p:cNvPr id="8" name="Afbeelding 7">
            <a:extLst>
              <a:ext uri="{FF2B5EF4-FFF2-40B4-BE49-F238E27FC236}">
                <a16:creationId xmlns:a16="http://schemas.microsoft.com/office/drawing/2014/main" id="{F2AC84B0-D404-4751-B97D-66B62DD6D629}"/>
              </a:ext>
            </a:extLst>
          </p:cNvPr>
          <p:cNvPicPr>
            <a:picLocks noChangeAspect="1"/>
          </p:cNvPicPr>
          <p:nvPr/>
        </p:nvPicPr>
        <p:blipFill rotWithShape="1">
          <a:blip r:embed="rId7"/>
          <a:srcRect b="24902"/>
          <a:stretch/>
        </p:blipFill>
        <p:spPr>
          <a:xfrm rot="16200000">
            <a:off x="1270718" y="953900"/>
            <a:ext cx="3857625" cy="5150227"/>
          </a:xfrm>
          <a:prstGeom prst="rect">
            <a:avLst/>
          </a:prstGeom>
        </p:spPr>
      </p:pic>
    </p:spTree>
    <p:extLst>
      <p:ext uri="{BB962C8B-B14F-4D97-AF65-F5344CB8AC3E}">
        <p14:creationId xmlns:p14="http://schemas.microsoft.com/office/powerpoint/2010/main" val="3676025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E48CD3-C27B-4DCA-BE4A-EDEA210C9DC4}"/>
              </a:ext>
            </a:extLst>
          </p:cNvPr>
          <p:cNvGraphicFramePr>
            <a:graphicFrameLocks noChangeAspect="1"/>
          </p:cNvGraphicFramePr>
          <p:nvPr>
            <p:custDataLst>
              <p:tags r:id="rId2"/>
            </p:custDataLst>
            <p:extLst>
              <p:ext uri="{D42A27DB-BD31-4B8C-83A1-F6EECF244321}">
                <p14:modId xmlns:p14="http://schemas.microsoft.com/office/powerpoint/2010/main" val="366536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51"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CE48CD3-C27B-4DCA-BE4A-EDEA210C9D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34E5ECC5-9F58-4417-A5F2-8CCB47F338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F6DCC170-A1C5-4D16-8EDC-1E91DC4808CC}"/>
              </a:ext>
            </a:extLst>
          </p:cNvPr>
          <p:cNvSpPr>
            <a:spLocks noGrp="1"/>
          </p:cNvSpPr>
          <p:nvPr>
            <p:ph type="title"/>
          </p:nvPr>
        </p:nvSpPr>
        <p:spPr/>
        <p:txBody>
          <a:bodyPr/>
          <a:lstStyle/>
          <a:p>
            <a:r>
              <a:rPr lang="nl-NL" sz="4000">
                <a:solidFill>
                  <a:srgbClr val="C00000"/>
                </a:solidFill>
              </a:rPr>
              <a:t>ICT</a:t>
            </a:r>
            <a:br>
              <a:rPr lang="nl-NL" sz="4000">
                <a:solidFill>
                  <a:srgbClr val="C00000"/>
                </a:solidFill>
              </a:rPr>
            </a:br>
            <a:r>
              <a:rPr lang="nl-NL" sz="2000">
                <a:solidFill>
                  <a:schemeClr val="tx1"/>
                </a:solidFill>
              </a:rPr>
              <a:t>De ICT die de Raad nodig heeft voor de werkzaamheden in 2024</a:t>
            </a:r>
          </a:p>
        </p:txBody>
      </p:sp>
      <p:sp>
        <p:nvSpPr>
          <p:cNvPr id="7" name="Tijdelijke aanduiding voor inhoud 8">
            <a:extLst>
              <a:ext uri="{FF2B5EF4-FFF2-40B4-BE49-F238E27FC236}">
                <a16:creationId xmlns:a16="http://schemas.microsoft.com/office/drawing/2014/main" id="{D63ED8D5-67F6-4826-9FA2-A48BDDD9A34F}"/>
              </a:ext>
            </a:extLst>
          </p:cNvPr>
          <p:cNvSpPr txBox="1">
            <a:spLocks/>
          </p:cNvSpPr>
          <p:nvPr/>
        </p:nvSpPr>
        <p:spPr>
          <a:xfrm>
            <a:off x="6197600" y="1600201"/>
            <a:ext cx="5544000" cy="4525963"/>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just">
              <a:buFontTx/>
              <a:buNone/>
            </a:pPr>
            <a:r>
              <a:rPr lang="nl-NL" sz="1600" kern="0" dirty="0"/>
              <a:t>Om de doelen van de Raad voor Rechtsbijstand in </a:t>
            </a:r>
            <a:r>
              <a:rPr lang="nl-NL" sz="1600" kern="0" dirty="0" smtClean="0"/>
              <a:t>2024 </a:t>
            </a:r>
            <a:r>
              <a:rPr lang="nl-NL" sz="1600" kern="0" dirty="0"/>
              <a:t>mogelijk te maken speelt ICT een belangrijke rol.</a:t>
            </a:r>
          </a:p>
          <a:p>
            <a:pPr marL="0" indent="0" algn="just">
              <a:buFontTx/>
              <a:buNone/>
            </a:pPr>
            <a:endParaRPr lang="nl-NL" sz="1600" kern="0" dirty="0"/>
          </a:p>
          <a:p>
            <a:pPr marL="0" indent="0" algn="just">
              <a:buFontTx/>
              <a:buNone/>
            </a:pPr>
            <a:r>
              <a:rPr lang="nl-NL" sz="1600" kern="0" dirty="0"/>
              <a:t>In ICT is de </a:t>
            </a:r>
            <a:r>
              <a:rPr lang="nl-NL" sz="1600" b="1" kern="0" dirty="0">
                <a:solidFill>
                  <a:srgbClr val="C00000"/>
                </a:solidFill>
              </a:rPr>
              <a:t>basis op orde </a:t>
            </a:r>
            <a:r>
              <a:rPr lang="nl-NL" sz="1600" kern="0" dirty="0"/>
              <a:t>zodat er ruimte is voor innovatie en vernieuwing.</a:t>
            </a:r>
          </a:p>
          <a:p>
            <a:pPr marL="0" indent="0" algn="just">
              <a:buFontTx/>
              <a:buNone/>
            </a:pPr>
            <a:endParaRPr lang="nl-NL" sz="1600" kern="0" dirty="0"/>
          </a:p>
          <a:p>
            <a:pPr marL="0" indent="0" algn="just">
              <a:buFontTx/>
              <a:buNone/>
            </a:pPr>
            <a:r>
              <a:rPr lang="nl-NL" sz="1600" kern="0" dirty="0"/>
              <a:t>In 2024 maakt de ICT het mogelijk dat de Raad voor iedere burger een </a:t>
            </a:r>
            <a:r>
              <a:rPr lang="nl-NL" sz="1600" b="1" kern="0" dirty="0">
                <a:solidFill>
                  <a:srgbClr val="C00000"/>
                </a:solidFill>
              </a:rPr>
              <a:t>excellente </a:t>
            </a:r>
            <a:r>
              <a:rPr lang="nl-NL" sz="1600" b="1" kern="0" dirty="0" err="1">
                <a:solidFill>
                  <a:srgbClr val="C00000"/>
                </a:solidFill>
              </a:rPr>
              <a:t>uitvoerings-organisatie</a:t>
            </a:r>
            <a:r>
              <a:rPr lang="nl-NL" sz="1600" b="1" kern="0" dirty="0">
                <a:solidFill>
                  <a:srgbClr val="C00000"/>
                </a:solidFill>
              </a:rPr>
              <a:t> </a:t>
            </a:r>
            <a:r>
              <a:rPr lang="nl-NL" sz="1600" kern="0" dirty="0"/>
              <a:t>is, ook voor degene die de digitalisering niet kan bijbenen.</a:t>
            </a:r>
          </a:p>
          <a:p>
            <a:pPr marL="0" indent="0" algn="just">
              <a:buFontTx/>
              <a:buNone/>
            </a:pPr>
            <a:endParaRPr lang="nl-NL" sz="1600" kern="0" dirty="0"/>
          </a:p>
          <a:p>
            <a:pPr marL="0" indent="0" algn="just">
              <a:buFontTx/>
              <a:buNone/>
            </a:pPr>
            <a:r>
              <a:rPr lang="nl-NL" sz="1600" kern="0" dirty="0"/>
              <a:t>In 2024 is de ICT </a:t>
            </a:r>
            <a:r>
              <a:rPr lang="nl-NL" sz="1600" b="1" kern="0" dirty="0">
                <a:solidFill>
                  <a:srgbClr val="C00000"/>
                </a:solidFill>
              </a:rPr>
              <a:t>wendbaar</a:t>
            </a:r>
            <a:r>
              <a:rPr lang="nl-NL" sz="1600" kern="0" dirty="0"/>
              <a:t> en werkt het </a:t>
            </a:r>
            <a:r>
              <a:rPr lang="nl-NL" sz="1600" b="1" kern="0" dirty="0">
                <a:solidFill>
                  <a:srgbClr val="C00000"/>
                </a:solidFill>
              </a:rPr>
              <a:t>vraaggericht</a:t>
            </a:r>
            <a:r>
              <a:rPr lang="nl-NL" sz="1600" kern="0" dirty="0"/>
              <a:t>. </a:t>
            </a:r>
          </a:p>
          <a:p>
            <a:pPr marL="0" indent="0" algn="just">
              <a:buFontTx/>
              <a:buNone/>
            </a:pPr>
            <a:endParaRPr lang="nl-NL" sz="1600" kern="0" dirty="0"/>
          </a:p>
          <a:p>
            <a:pPr marL="0" indent="0" algn="just">
              <a:buFontTx/>
              <a:buNone/>
            </a:pPr>
            <a:r>
              <a:rPr lang="nl-NL" sz="1600" kern="0" dirty="0"/>
              <a:t>In 2024 stelt de ICT de Raad in staat om een intern en extern </a:t>
            </a:r>
            <a:r>
              <a:rPr lang="nl-NL" sz="1600" b="1" kern="0" dirty="0">
                <a:solidFill>
                  <a:srgbClr val="C00000"/>
                </a:solidFill>
              </a:rPr>
              <a:t>kenniscentrum</a:t>
            </a:r>
            <a:r>
              <a:rPr lang="nl-NL" sz="1600" kern="0" dirty="0"/>
              <a:t> te kunnen zijn.</a:t>
            </a:r>
          </a:p>
          <a:p>
            <a:pPr marL="0" indent="0" algn="just">
              <a:buFontTx/>
              <a:buNone/>
            </a:pPr>
            <a:endParaRPr lang="nl-NL" sz="1600" kern="0" dirty="0"/>
          </a:p>
        </p:txBody>
      </p:sp>
      <p:pic>
        <p:nvPicPr>
          <p:cNvPr id="8" name="Afbeelding 7">
            <a:extLst>
              <a:ext uri="{FF2B5EF4-FFF2-40B4-BE49-F238E27FC236}">
                <a16:creationId xmlns:a16="http://schemas.microsoft.com/office/drawing/2014/main" id="{D7224B29-2BDA-4475-8734-33FCE57F1CEF}"/>
              </a:ext>
            </a:extLst>
          </p:cNvPr>
          <p:cNvPicPr>
            <a:picLocks noChangeAspect="1"/>
          </p:cNvPicPr>
          <p:nvPr/>
        </p:nvPicPr>
        <p:blipFill>
          <a:blip r:embed="rId7"/>
          <a:stretch>
            <a:fillRect/>
          </a:stretch>
        </p:blipFill>
        <p:spPr>
          <a:xfrm>
            <a:off x="560792" y="2384612"/>
            <a:ext cx="5482416" cy="3083859"/>
          </a:xfrm>
          <a:prstGeom prst="rect">
            <a:avLst/>
          </a:prstGeom>
        </p:spPr>
      </p:pic>
    </p:spTree>
    <p:extLst>
      <p:ext uri="{BB962C8B-B14F-4D97-AF65-F5344CB8AC3E}">
        <p14:creationId xmlns:p14="http://schemas.microsoft.com/office/powerpoint/2010/main" val="2344579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B2A0EE-8AFA-4752-8195-1E30A18069E4}"/>
              </a:ext>
            </a:extLst>
          </p:cNvPr>
          <p:cNvGraphicFramePr>
            <a:graphicFrameLocks noChangeAspect="1"/>
          </p:cNvGraphicFramePr>
          <p:nvPr>
            <p:custDataLst>
              <p:tags r:id="rId2"/>
            </p:custDataLst>
            <p:extLst>
              <p:ext uri="{D42A27DB-BD31-4B8C-83A1-F6EECF244321}">
                <p14:modId xmlns:p14="http://schemas.microsoft.com/office/powerpoint/2010/main" val="1840337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2B2A0EE-8AFA-4752-8195-1E30A18069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2C24CC81-B4B9-404E-AD09-19BFF3CDA5B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9EA2A33E-F3D3-44B5-9B33-DE6FEF780AA4}"/>
              </a:ext>
            </a:extLst>
          </p:cNvPr>
          <p:cNvSpPr>
            <a:spLocks noGrp="1"/>
          </p:cNvSpPr>
          <p:nvPr>
            <p:ph type="title"/>
          </p:nvPr>
        </p:nvSpPr>
        <p:spPr/>
        <p:txBody>
          <a:bodyPr/>
          <a:lstStyle/>
          <a:p>
            <a:r>
              <a:rPr lang="nl-NL" sz="4000" dirty="0" err="1">
                <a:solidFill>
                  <a:srgbClr val="C00000"/>
                </a:solidFill>
              </a:rPr>
              <a:t>Roadmap</a:t>
            </a:r>
            <a:r>
              <a:rPr lang="nl-NL" sz="4000" dirty="0">
                <a:solidFill>
                  <a:srgbClr val="C00000"/>
                </a:solidFill>
              </a:rPr>
              <a:t/>
            </a:r>
            <a:br>
              <a:rPr lang="nl-NL" sz="4000" dirty="0">
                <a:solidFill>
                  <a:srgbClr val="C00000"/>
                </a:solidFill>
              </a:rPr>
            </a:br>
            <a:r>
              <a:rPr lang="nl-NL" sz="2000" dirty="0">
                <a:solidFill>
                  <a:srgbClr val="000000"/>
                </a:solidFill>
              </a:rPr>
              <a:t>Met een drietal doelen werkt de Raad naar de gewenste ICT in 2024</a:t>
            </a:r>
            <a:endParaRPr lang="nl-NL" dirty="0">
              <a:solidFill>
                <a:srgbClr val="C00000"/>
              </a:solidFill>
            </a:endParaRPr>
          </a:p>
        </p:txBody>
      </p:sp>
      <p:pic>
        <p:nvPicPr>
          <p:cNvPr id="6" name="Afbeelding 5" descr="Afbeelding met tekst&#10;&#10;Automatisch gegenereerde beschrijving">
            <a:extLst>
              <a:ext uri="{FF2B5EF4-FFF2-40B4-BE49-F238E27FC236}">
                <a16:creationId xmlns:a16="http://schemas.microsoft.com/office/drawing/2014/main" id="{1828DD85-5A39-4954-B660-5778AF0EC757}"/>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597886" y="1143000"/>
            <a:ext cx="6524847" cy="4893635"/>
          </a:xfrm>
          <a:prstGeom prst="rect">
            <a:avLst/>
          </a:prstGeom>
        </p:spPr>
      </p:pic>
    </p:spTree>
    <p:extLst>
      <p:ext uri="{BB962C8B-B14F-4D97-AF65-F5344CB8AC3E}">
        <p14:creationId xmlns:p14="http://schemas.microsoft.com/office/powerpoint/2010/main" val="3189135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624830-7313-4374-99F8-7358C5AE4E40}"/>
              </a:ext>
            </a:extLst>
          </p:cNvPr>
          <p:cNvGraphicFramePr>
            <a:graphicFrameLocks noChangeAspect="1"/>
          </p:cNvGraphicFramePr>
          <p:nvPr>
            <p:custDataLst>
              <p:tags r:id="rId2"/>
            </p:custDataLst>
            <p:extLst>
              <p:ext uri="{D42A27DB-BD31-4B8C-83A1-F6EECF244321}">
                <p14:modId xmlns:p14="http://schemas.microsoft.com/office/powerpoint/2010/main" val="289073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AE624830-7313-4374-99F8-7358C5AE4E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DE10F614-8CB6-469D-B23F-FB036AD6E01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EF2B9874-44F4-4142-A78A-828EFB810D68}"/>
              </a:ext>
            </a:extLst>
          </p:cNvPr>
          <p:cNvSpPr>
            <a:spLocks noGrp="1"/>
          </p:cNvSpPr>
          <p:nvPr>
            <p:ph type="title"/>
          </p:nvPr>
        </p:nvSpPr>
        <p:spPr/>
        <p:txBody>
          <a:bodyPr/>
          <a:lstStyle/>
          <a:p>
            <a:pPr marL="0" indent="0">
              <a:buNone/>
            </a:pPr>
            <a:r>
              <a:rPr lang="nl-NL" sz="4000" dirty="0">
                <a:solidFill>
                  <a:srgbClr val="C00000"/>
                </a:solidFill>
              </a:rPr>
              <a:t>De basis op orde in ICT</a:t>
            </a:r>
            <a:br>
              <a:rPr lang="nl-NL" sz="4000" dirty="0">
                <a:solidFill>
                  <a:srgbClr val="C00000"/>
                </a:solidFill>
              </a:rPr>
            </a:br>
            <a:r>
              <a:rPr lang="nl-NL" sz="2000" dirty="0">
                <a:solidFill>
                  <a:srgbClr val="000000"/>
                </a:solidFill>
              </a:rPr>
              <a:t>Met de basis op orde ontstaat ruimte voor innovatie en vernieuwing</a:t>
            </a:r>
            <a:endParaRPr lang="nl-NL" sz="4000" dirty="0">
              <a:solidFill>
                <a:srgbClr val="C00000"/>
              </a:solidFill>
            </a:endParaRPr>
          </a:p>
        </p:txBody>
      </p:sp>
      <p:sp>
        <p:nvSpPr>
          <p:cNvPr id="7" name="Tijdelijke aanduiding voor inhoud 8">
            <a:extLst>
              <a:ext uri="{FF2B5EF4-FFF2-40B4-BE49-F238E27FC236}">
                <a16:creationId xmlns:a16="http://schemas.microsoft.com/office/drawing/2014/main" id="{E85D23A2-121D-41B6-ADE8-6B8AAFE3F5A0}"/>
              </a:ext>
            </a:extLst>
          </p:cNvPr>
          <p:cNvSpPr txBox="1">
            <a:spLocks/>
          </p:cNvSpPr>
          <p:nvPr/>
        </p:nvSpPr>
        <p:spPr>
          <a:xfrm>
            <a:off x="5037514" y="1143000"/>
            <a:ext cx="6966064" cy="5179741"/>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just">
              <a:buNone/>
            </a:pPr>
            <a:r>
              <a:rPr lang="nl-NL" sz="1600" kern="0" dirty="0"/>
              <a:t>In ICT is de basis op orde zodat er </a:t>
            </a:r>
            <a:r>
              <a:rPr lang="nl-NL" sz="1600" b="1" kern="0" dirty="0">
                <a:solidFill>
                  <a:srgbClr val="C00000"/>
                </a:solidFill>
              </a:rPr>
              <a:t>ruimte is voor innovatie en vernieuwing</a:t>
            </a:r>
            <a:r>
              <a:rPr lang="nl-NL" sz="1600" kern="0" dirty="0"/>
              <a:t>. Dat betekent een landschap bestaande uit de technologieën waarmee we werken, processen waarlangs we werken en uitgangspunten die we hanteren.</a:t>
            </a:r>
          </a:p>
          <a:p>
            <a:pPr marL="0" indent="0" algn="just">
              <a:buFontTx/>
              <a:buNone/>
            </a:pPr>
            <a:endParaRPr lang="nl-NL" sz="1600" kern="0" dirty="0"/>
          </a:p>
          <a:p>
            <a:pPr algn="just">
              <a:buFont typeface="Wingdings" panose="05000000000000000000" pitchFamily="2" charset="2"/>
              <a:buChar char="ü"/>
            </a:pPr>
            <a:r>
              <a:rPr lang="nl-NL" sz="1600" kern="0" dirty="0"/>
              <a:t>De </a:t>
            </a:r>
            <a:r>
              <a:rPr lang="nl-NL" sz="1600" b="1" kern="0" dirty="0">
                <a:solidFill>
                  <a:srgbClr val="C00000"/>
                </a:solidFill>
              </a:rPr>
              <a:t>architectuurfunctie</a:t>
            </a:r>
            <a:r>
              <a:rPr lang="nl-NL" sz="1600" kern="0" dirty="0"/>
              <a:t> op orde brengen.</a:t>
            </a:r>
          </a:p>
          <a:p>
            <a:pPr algn="just">
              <a:buFont typeface="Wingdings" panose="05000000000000000000" pitchFamily="2" charset="2"/>
              <a:buChar char="ü"/>
            </a:pPr>
            <a:r>
              <a:rPr lang="nl-NL" sz="1600" kern="0" dirty="0"/>
              <a:t>Verder in control en conform wetgeving komen op</a:t>
            </a:r>
            <a:r>
              <a:rPr lang="nl-NL" sz="1600" b="1" kern="0" dirty="0">
                <a:solidFill>
                  <a:srgbClr val="C00000"/>
                </a:solidFill>
              </a:rPr>
              <a:t> informatiebeveiliging en privacy</a:t>
            </a:r>
            <a:r>
              <a:rPr lang="nl-NL" sz="1600" kern="0" dirty="0"/>
              <a:t> als integraal onderdeel van ons werk.</a:t>
            </a:r>
          </a:p>
          <a:p>
            <a:pPr algn="just">
              <a:buFont typeface="Wingdings" panose="05000000000000000000" pitchFamily="2" charset="2"/>
              <a:buChar char="ü"/>
            </a:pPr>
            <a:r>
              <a:rPr lang="nl-NL" sz="1600" kern="0" dirty="0"/>
              <a:t>De </a:t>
            </a:r>
            <a:r>
              <a:rPr lang="nl-NL" sz="1600" b="1" kern="0" dirty="0">
                <a:solidFill>
                  <a:srgbClr val="C00000"/>
                </a:solidFill>
              </a:rPr>
              <a:t>modernisering</a:t>
            </a:r>
            <a:r>
              <a:rPr lang="nl-NL" sz="1600" kern="0" dirty="0"/>
              <a:t> van de ICT te realiseren door bijvoorbeeld het vervangen van </a:t>
            </a:r>
            <a:r>
              <a:rPr lang="nl-NL" sz="1600" kern="0" dirty="0" err="1"/>
              <a:t>legacy</a:t>
            </a:r>
            <a:r>
              <a:rPr lang="nl-NL" sz="1600" kern="0" dirty="0"/>
              <a:t> in bedrijfsprocessen.</a:t>
            </a:r>
            <a:endParaRPr lang="nl-NL" sz="1600" kern="0" dirty="0">
              <a:highlight>
                <a:srgbClr val="FFFF00"/>
              </a:highlight>
            </a:endParaRPr>
          </a:p>
          <a:p>
            <a:pPr algn="just">
              <a:buFont typeface="Wingdings" panose="05000000000000000000" pitchFamily="2" charset="2"/>
              <a:buChar char="ü"/>
            </a:pPr>
            <a:r>
              <a:rPr lang="nl-NL" sz="1600" kern="0" dirty="0"/>
              <a:t>Het </a:t>
            </a:r>
            <a:r>
              <a:rPr lang="nl-NL" sz="1600" b="1" kern="0" dirty="0">
                <a:solidFill>
                  <a:srgbClr val="C00000"/>
                </a:solidFill>
              </a:rPr>
              <a:t>digitaliseren </a:t>
            </a:r>
            <a:r>
              <a:rPr lang="nl-NL" sz="1600" kern="0" dirty="0"/>
              <a:t>van </a:t>
            </a:r>
            <a:r>
              <a:rPr lang="nl-NL" sz="1600" kern="0" dirty="0" smtClean="0"/>
              <a:t>papieren primaire </a:t>
            </a:r>
            <a:r>
              <a:rPr lang="nl-NL" sz="1600" kern="0" dirty="0"/>
              <a:t>en secundaire processen.</a:t>
            </a:r>
          </a:p>
          <a:p>
            <a:pPr algn="just">
              <a:buFont typeface="Wingdings" panose="05000000000000000000" pitchFamily="2" charset="2"/>
              <a:buChar char="ü"/>
            </a:pPr>
            <a:r>
              <a:rPr lang="nl-NL" sz="1600" kern="0" dirty="0" smtClean="0"/>
              <a:t>De </a:t>
            </a:r>
            <a:r>
              <a:rPr lang="nl-NL" sz="1600" b="1" kern="0" dirty="0" smtClean="0">
                <a:solidFill>
                  <a:srgbClr val="FF0000"/>
                </a:solidFill>
              </a:rPr>
              <a:t>besturing van het informatiedomein </a:t>
            </a:r>
            <a:r>
              <a:rPr lang="nl-NL" sz="1600" kern="0" dirty="0" smtClean="0"/>
              <a:t>verder inrichten.</a:t>
            </a:r>
          </a:p>
          <a:p>
            <a:pPr algn="just">
              <a:buFont typeface="Wingdings" panose="05000000000000000000" pitchFamily="2" charset="2"/>
              <a:buChar char="ü"/>
            </a:pPr>
            <a:r>
              <a:rPr lang="nl-NL" sz="1600" kern="0" dirty="0" smtClean="0"/>
              <a:t>Het </a:t>
            </a:r>
            <a:r>
              <a:rPr lang="nl-NL" sz="1600" b="1" kern="0" dirty="0" smtClean="0">
                <a:solidFill>
                  <a:srgbClr val="FF0000"/>
                </a:solidFill>
              </a:rPr>
              <a:t>I-vakmanschap</a:t>
            </a:r>
            <a:r>
              <a:rPr lang="nl-NL" sz="1600" b="1" kern="0" dirty="0" smtClean="0"/>
              <a:t> </a:t>
            </a:r>
            <a:r>
              <a:rPr lang="nl-NL" sz="1600" kern="0" dirty="0" smtClean="0"/>
              <a:t>van de RvR vergroten om wendbaar te kunnen zijn.</a:t>
            </a:r>
          </a:p>
          <a:p>
            <a:pPr algn="just">
              <a:buFont typeface="Wingdings" panose="05000000000000000000" pitchFamily="2" charset="2"/>
              <a:buChar char="ü"/>
            </a:pPr>
            <a:r>
              <a:rPr lang="nl-NL" sz="1600" kern="0" dirty="0" smtClean="0"/>
              <a:t>We brengen de </a:t>
            </a:r>
            <a:r>
              <a:rPr lang="nl-NL" sz="1600" b="1" kern="0" dirty="0" smtClean="0">
                <a:solidFill>
                  <a:srgbClr val="FF0000"/>
                </a:solidFill>
              </a:rPr>
              <a:t>informatiehuishouding</a:t>
            </a:r>
            <a:r>
              <a:rPr lang="nl-NL" sz="1600" kern="0" dirty="0" smtClean="0"/>
              <a:t> verder op orde om te voldoen aan normenkaders en kwaliteit te garanderen</a:t>
            </a:r>
            <a:endParaRPr lang="nl-NL" sz="1600" kern="0" dirty="0"/>
          </a:p>
        </p:txBody>
      </p:sp>
      <p:pic>
        <p:nvPicPr>
          <p:cNvPr id="2" name="Afbeelding 1">
            <a:extLst>
              <a:ext uri="{FF2B5EF4-FFF2-40B4-BE49-F238E27FC236}">
                <a16:creationId xmlns:a16="http://schemas.microsoft.com/office/drawing/2014/main" id="{1DD11F35-0652-4C58-9C62-97F79973C9C0}"/>
              </a:ext>
            </a:extLst>
          </p:cNvPr>
          <p:cNvPicPr>
            <a:picLocks noChangeAspect="1"/>
          </p:cNvPicPr>
          <p:nvPr/>
        </p:nvPicPr>
        <p:blipFill rotWithShape="1">
          <a:blip r:embed="rId7"/>
          <a:srcRect r="29779"/>
          <a:stretch/>
        </p:blipFill>
        <p:spPr>
          <a:xfrm>
            <a:off x="240193" y="1845425"/>
            <a:ext cx="4510743" cy="3613318"/>
          </a:xfrm>
          <a:prstGeom prst="rect">
            <a:avLst/>
          </a:prstGeom>
        </p:spPr>
      </p:pic>
      <p:sp>
        <p:nvSpPr>
          <p:cNvPr id="8" name="Tekstvak 7">
            <a:extLst>
              <a:ext uri="{FF2B5EF4-FFF2-40B4-BE49-F238E27FC236}">
                <a16:creationId xmlns:a16="http://schemas.microsoft.com/office/drawing/2014/main" id="{B8B4FDAD-70C3-489C-BB12-8EEBE3E06FD1}"/>
              </a:ext>
            </a:extLst>
          </p:cNvPr>
          <p:cNvSpPr txBox="1"/>
          <p:nvPr/>
        </p:nvSpPr>
        <p:spPr>
          <a:xfrm rot="2513041">
            <a:off x="307351" y="4431085"/>
            <a:ext cx="1241584" cy="276999"/>
          </a:xfrm>
          <a:prstGeom prst="rect">
            <a:avLst/>
          </a:prstGeom>
          <a:noFill/>
          <a:ln w="38100">
            <a:solidFill>
              <a:srgbClr val="007A37"/>
            </a:solidFill>
          </a:ln>
        </p:spPr>
        <p:txBody>
          <a:bodyPr wrap="square" rtlCol="0">
            <a:spAutoFit/>
          </a:bodyPr>
          <a:lstStyle/>
          <a:p>
            <a:r>
              <a:rPr lang="nl-NL" sz="1200" b="1" dirty="0">
                <a:solidFill>
                  <a:srgbClr val="4C2A1B"/>
                </a:solidFill>
                <a:latin typeface="+mn-lt"/>
              </a:rPr>
              <a:t>Organisatie</a:t>
            </a:r>
          </a:p>
        </p:txBody>
      </p:sp>
    </p:spTree>
    <p:extLst>
      <p:ext uri="{BB962C8B-B14F-4D97-AF65-F5344CB8AC3E}">
        <p14:creationId xmlns:p14="http://schemas.microsoft.com/office/powerpoint/2010/main" val="1073138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6B558A-C0BC-4FCD-85DC-0946F08E5E1C}"/>
              </a:ext>
            </a:extLst>
          </p:cNvPr>
          <p:cNvGraphicFramePr>
            <a:graphicFrameLocks noChangeAspect="1"/>
          </p:cNvGraphicFramePr>
          <p:nvPr>
            <p:custDataLst>
              <p:tags r:id="rId2"/>
            </p:custDataLst>
            <p:extLst>
              <p:ext uri="{D42A27DB-BD31-4B8C-83A1-F6EECF244321}">
                <p14:modId xmlns:p14="http://schemas.microsoft.com/office/powerpoint/2010/main" val="1062629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5"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466B558A-C0BC-4FCD-85DC-0946F08E5E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D4582160-C868-4843-B21C-D0CEA4E22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087163C6-3670-401E-86E9-C91E37749DB6}"/>
              </a:ext>
            </a:extLst>
          </p:cNvPr>
          <p:cNvSpPr>
            <a:spLocks noGrp="1"/>
          </p:cNvSpPr>
          <p:nvPr>
            <p:ph type="title"/>
          </p:nvPr>
        </p:nvSpPr>
        <p:spPr/>
        <p:txBody>
          <a:bodyPr/>
          <a:lstStyle/>
          <a:p>
            <a:r>
              <a:rPr lang="nl-NL" sz="4000">
                <a:solidFill>
                  <a:srgbClr val="C00000"/>
                </a:solidFill>
              </a:rPr>
              <a:t>Vernieuwing van ICT</a:t>
            </a:r>
            <a:br>
              <a:rPr lang="nl-NL" sz="4000">
                <a:solidFill>
                  <a:srgbClr val="C00000"/>
                </a:solidFill>
              </a:rPr>
            </a:br>
            <a:r>
              <a:rPr lang="nl-NL" sz="2000">
                <a:solidFill>
                  <a:srgbClr val="000000"/>
                </a:solidFill>
              </a:rPr>
              <a:t>Vernieuwde ICT maakt excellente uitvoering en wendbaarheid mogelijk </a:t>
            </a:r>
            <a:endParaRPr lang="nl-NL" sz="4000">
              <a:solidFill>
                <a:srgbClr val="C00000"/>
              </a:solidFill>
            </a:endParaRPr>
          </a:p>
        </p:txBody>
      </p:sp>
      <p:sp>
        <p:nvSpPr>
          <p:cNvPr id="7" name="Tijdelijke aanduiding voor inhoud 8">
            <a:extLst>
              <a:ext uri="{FF2B5EF4-FFF2-40B4-BE49-F238E27FC236}">
                <a16:creationId xmlns:a16="http://schemas.microsoft.com/office/drawing/2014/main" id="{2187A50E-69C0-4680-BA70-08BD97E93C36}"/>
              </a:ext>
            </a:extLst>
          </p:cNvPr>
          <p:cNvSpPr txBox="1">
            <a:spLocks/>
          </p:cNvSpPr>
          <p:nvPr/>
        </p:nvSpPr>
        <p:spPr>
          <a:xfrm>
            <a:off x="5575610" y="1215482"/>
            <a:ext cx="6343542" cy="4951141"/>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just">
              <a:buFontTx/>
              <a:buNone/>
            </a:pPr>
            <a:r>
              <a:rPr lang="nl-NL" sz="1600" kern="0" dirty="0"/>
              <a:t>Om een </a:t>
            </a:r>
            <a:r>
              <a:rPr lang="nl-NL" sz="1600" b="1" kern="0" dirty="0">
                <a:solidFill>
                  <a:srgbClr val="C00000"/>
                </a:solidFill>
              </a:rPr>
              <a:t>excellente uitvoering</a:t>
            </a:r>
            <a:r>
              <a:rPr lang="nl-NL" sz="1600" kern="0" dirty="0"/>
              <a:t> en </a:t>
            </a:r>
            <a:r>
              <a:rPr lang="nl-NL" sz="1600" b="1" kern="0" dirty="0">
                <a:solidFill>
                  <a:srgbClr val="C00000"/>
                </a:solidFill>
              </a:rPr>
              <a:t>wendbaarheid</a:t>
            </a:r>
            <a:r>
              <a:rPr lang="nl-NL" sz="1600" kern="0" dirty="0"/>
              <a:t> mogelijk te maken vernieuwen we de ICT. In deze ontwikkeling is het niet meer de vraag wat </a:t>
            </a:r>
            <a:r>
              <a:rPr lang="nl-NL" sz="1600" i="1" kern="0" dirty="0"/>
              <a:t>kan</a:t>
            </a:r>
            <a:r>
              <a:rPr lang="nl-NL" sz="1600" kern="0" dirty="0"/>
              <a:t>, maar wat </a:t>
            </a:r>
            <a:r>
              <a:rPr lang="nl-NL" sz="1600" i="1" kern="0" dirty="0"/>
              <a:t>mag</a:t>
            </a:r>
            <a:r>
              <a:rPr lang="nl-NL" sz="1600" kern="0" dirty="0"/>
              <a:t> en wat we willen, mede op basis van wet- en regelgeving. </a:t>
            </a:r>
            <a:endParaRPr lang="nl-NL" sz="1600" kern="0" dirty="0" smtClean="0"/>
          </a:p>
          <a:p>
            <a:pPr marL="0" indent="0" algn="just">
              <a:buFontTx/>
              <a:buNone/>
            </a:pPr>
            <a:endParaRPr lang="nl-NL" sz="1600" kern="0" dirty="0" smtClean="0"/>
          </a:p>
          <a:p>
            <a:pPr algn="just">
              <a:buFont typeface="Wingdings" panose="05000000000000000000" pitchFamily="2" charset="2"/>
              <a:buChar char="ü"/>
            </a:pPr>
            <a:r>
              <a:rPr lang="nl-NL" sz="1600" kern="0" dirty="0" smtClean="0"/>
              <a:t>We </a:t>
            </a:r>
            <a:r>
              <a:rPr lang="nl-NL" sz="1600" kern="0" dirty="0"/>
              <a:t>creëren </a:t>
            </a:r>
            <a:r>
              <a:rPr lang="nl-NL" sz="1600" b="1" kern="0" dirty="0">
                <a:solidFill>
                  <a:srgbClr val="C00000"/>
                </a:solidFill>
              </a:rPr>
              <a:t>ketensamenwerking</a:t>
            </a:r>
            <a:r>
              <a:rPr lang="nl-NL" sz="1600" kern="0" dirty="0"/>
              <a:t> met klant en leveranciers alsook met/tussen ketenpartners</a:t>
            </a:r>
            <a:r>
              <a:rPr lang="nl-NL" sz="1600" kern="0" dirty="0" smtClean="0"/>
              <a:t>.</a:t>
            </a:r>
          </a:p>
          <a:p>
            <a:pPr algn="just">
              <a:buFont typeface="Wingdings" panose="05000000000000000000" pitchFamily="2" charset="2"/>
              <a:buChar char="ü"/>
            </a:pPr>
            <a:r>
              <a:rPr lang="nl-NL" sz="1600" kern="0" dirty="0" smtClean="0"/>
              <a:t>We faciliteren de </a:t>
            </a:r>
            <a:r>
              <a:rPr lang="nl-NL" sz="1600" b="1" kern="0" dirty="0" smtClean="0">
                <a:solidFill>
                  <a:srgbClr val="FF0000"/>
                </a:solidFill>
              </a:rPr>
              <a:t>stelselvernieuwing</a:t>
            </a:r>
            <a:r>
              <a:rPr lang="nl-NL" sz="1600" b="1" kern="0" dirty="0" smtClean="0"/>
              <a:t> </a:t>
            </a:r>
            <a:r>
              <a:rPr lang="nl-NL" sz="1600" kern="0" dirty="0" smtClean="0"/>
              <a:t>door ketensamenwerking mogelijk te maken en experimenten te gebruiken om de benodigde ICT in te richten.</a:t>
            </a:r>
            <a:endParaRPr lang="nl-NL" sz="1600" kern="0" dirty="0"/>
          </a:p>
          <a:p>
            <a:pPr algn="just">
              <a:buFont typeface="Wingdings" panose="05000000000000000000" pitchFamily="2" charset="2"/>
              <a:buChar char="ü"/>
            </a:pPr>
            <a:r>
              <a:rPr lang="nl-NL" sz="1600" kern="0" dirty="0"/>
              <a:t>We werken aan </a:t>
            </a:r>
            <a:r>
              <a:rPr lang="nl-NL" sz="1600" b="1" kern="0" dirty="0">
                <a:solidFill>
                  <a:srgbClr val="C00000"/>
                </a:solidFill>
              </a:rPr>
              <a:t>automatisering</a:t>
            </a:r>
            <a:r>
              <a:rPr lang="nl-NL" sz="1600" kern="0" dirty="0"/>
              <a:t> van processen waaronder het automatiseren van processtappen.</a:t>
            </a:r>
          </a:p>
          <a:p>
            <a:pPr algn="just">
              <a:buFont typeface="Wingdings" panose="05000000000000000000" pitchFamily="2" charset="2"/>
              <a:buChar char="ü"/>
            </a:pPr>
            <a:r>
              <a:rPr lang="nl-NL" sz="1600" kern="0" dirty="0"/>
              <a:t>We maken </a:t>
            </a:r>
            <a:r>
              <a:rPr lang="nl-NL" sz="1600" b="1" kern="0" dirty="0">
                <a:solidFill>
                  <a:srgbClr val="C00000"/>
                </a:solidFill>
              </a:rPr>
              <a:t>zelfhulp</a:t>
            </a:r>
            <a:r>
              <a:rPr lang="nl-NL" sz="1600" kern="0" dirty="0"/>
              <a:t> nog meer mogelijk en stellen zo de burger centraal met behulp van nieuwe technologieën</a:t>
            </a:r>
            <a:r>
              <a:rPr lang="nl-NL" sz="1600" kern="0" dirty="0" smtClean="0"/>
              <a:t>. </a:t>
            </a:r>
            <a:endParaRPr lang="nl-NL" sz="1600" kern="0" dirty="0"/>
          </a:p>
          <a:p>
            <a:pPr algn="just">
              <a:buFont typeface="Wingdings" panose="05000000000000000000" pitchFamily="2" charset="2"/>
              <a:buChar char="ü"/>
            </a:pPr>
            <a:r>
              <a:rPr lang="nl-NL" sz="1600" kern="0" dirty="0"/>
              <a:t>We versterken onze </a:t>
            </a:r>
            <a:r>
              <a:rPr lang="nl-NL" sz="1600" b="1" kern="0" dirty="0">
                <a:solidFill>
                  <a:srgbClr val="C00000"/>
                </a:solidFill>
              </a:rPr>
              <a:t>infrastructuur</a:t>
            </a:r>
            <a:r>
              <a:rPr lang="nl-NL" sz="1600" kern="0" dirty="0"/>
              <a:t> met applicaties met </a:t>
            </a:r>
            <a:r>
              <a:rPr lang="nl-NL" sz="1600" kern="0" dirty="0" err="1"/>
              <a:t>cloudtechnologie</a:t>
            </a:r>
            <a:r>
              <a:rPr lang="nl-NL" sz="1600" kern="0" dirty="0"/>
              <a:t>.</a:t>
            </a:r>
          </a:p>
          <a:p>
            <a:pPr algn="just">
              <a:buFont typeface="Wingdings" panose="05000000000000000000" pitchFamily="2" charset="2"/>
              <a:buChar char="ü"/>
            </a:pPr>
            <a:r>
              <a:rPr lang="nl-NL" sz="1600" kern="0" dirty="0"/>
              <a:t>We </a:t>
            </a:r>
            <a:r>
              <a:rPr lang="nl-NL" sz="1600" kern="0" dirty="0" smtClean="0"/>
              <a:t>realiseren een </a:t>
            </a:r>
            <a:r>
              <a:rPr lang="nl-NL" sz="1600" b="1" kern="0" dirty="0" smtClean="0">
                <a:solidFill>
                  <a:srgbClr val="FF0000"/>
                </a:solidFill>
              </a:rPr>
              <a:t>moderne werkomgeving</a:t>
            </a:r>
            <a:r>
              <a:rPr lang="nl-NL" sz="1600" kern="0" dirty="0" smtClean="0"/>
              <a:t>. </a:t>
            </a:r>
            <a:endParaRPr lang="nl-NL" sz="1600" kern="0" dirty="0"/>
          </a:p>
          <a:p>
            <a:pPr marL="0" indent="0" algn="just">
              <a:buFontTx/>
              <a:buNone/>
            </a:pPr>
            <a:endParaRPr lang="nl-NL" sz="1600" kern="0" dirty="0"/>
          </a:p>
        </p:txBody>
      </p:sp>
      <p:pic>
        <p:nvPicPr>
          <p:cNvPr id="2" name="Afbeelding 1">
            <a:extLst>
              <a:ext uri="{FF2B5EF4-FFF2-40B4-BE49-F238E27FC236}">
                <a16:creationId xmlns:a16="http://schemas.microsoft.com/office/drawing/2014/main" id="{C897E7CB-EDB2-49D4-AFAE-EC2C24A1ABE9}"/>
              </a:ext>
            </a:extLst>
          </p:cNvPr>
          <p:cNvPicPr>
            <a:picLocks noChangeAspect="1"/>
          </p:cNvPicPr>
          <p:nvPr/>
        </p:nvPicPr>
        <p:blipFill>
          <a:blip r:embed="rId7"/>
          <a:stretch>
            <a:fillRect/>
          </a:stretch>
        </p:blipFill>
        <p:spPr>
          <a:xfrm>
            <a:off x="261697" y="2498099"/>
            <a:ext cx="5313913" cy="2989076"/>
          </a:xfrm>
          <a:prstGeom prst="rect">
            <a:avLst/>
          </a:prstGeom>
        </p:spPr>
      </p:pic>
    </p:spTree>
    <p:extLst>
      <p:ext uri="{BB962C8B-B14F-4D97-AF65-F5344CB8AC3E}">
        <p14:creationId xmlns:p14="http://schemas.microsoft.com/office/powerpoint/2010/main" val="1087932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D36F3A-3939-4892-9188-739412C22886}"/>
              </a:ext>
            </a:extLst>
          </p:cNvPr>
          <p:cNvGraphicFramePr>
            <a:graphicFrameLocks noChangeAspect="1"/>
          </p:cNvGraphicFramePr>
          <p:nvPr>
            <p:custDataLst>
              <p:tags r:id="rId2"/>
            </p:custDataLst>
            <p:extLst>
              <p:ext uri="{D42A27DB-BD31-4B8C-83A1-F6EECF244321}">
                <p14:modId xmlns:p14="http://schemas.microsoft.com/office/powerpoint/2010/main" val="319027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5"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92D36F3A-3939-4892-9188-739412C228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69D4CA48-FFDB-4D10-8C61-DAF400DE90B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000" b="1">
              <a:latin typeface="Verdana" panose="020B0604030504040204" pitchFamily="34" charset="0"/>
              <a:ea typeface="+mj-ea"/>
              <a:cs typeface="+mj-cs"/>
              <a:sym typeface="Verdana" panose="020B0604030504040204" pitchFamily="34" charset="0"/>
            </a:endParaRPr>
          </a:p>
        </p:txBody>
      </p:sp>
      <p:sp>
        <p:nvSpPr>
          <p:cNvPr id="3" name="Titel 2">
            <a:extLst>
              <a:ext uri="{FF2B5EF4-FFF2-40B4-BE49-F238E27FC236}">
                <a16:creationId xmlns:a16="http://schemas.microsoft.com/office/drawing/2014/main" id="{10A72C5F-7E10-44E5-A4C3-95037DEEC4E3}"/>
              </a:ext>
            </a:extLst>
          </p:cNvPr>
          <p:cNvSpPr>
            <a:spLocks noGrp="1"/>
          </p:cNvSpPr>
          <p:nvPr>
            <p:ph type="title"/>
          </p:nvPr>
        </p:nvSpPr>
        <p:spPr>
          <a:xfrm>
            <a:off x="516000" y="0"/>
            <a:ext cx="11160000" cy="1143000"/>
          </a:xfrm>
        </p:spPr>
        <p:txBody>
          <a:bodyPr/>
          <a:lstStyle/>
          <a:p>
            <a:r>
              <a:rPr lang="nl-NL" sz="4000">
                <a:solidFill>
                  <a:srgbClr val="C00000"/>
                </a:solidFill>
              </a:rPr>
              <a:t>ICT ontsluit data</a:t>
            </a:r>
            <a:br>
              <a:rPr lang="nl-NL" sz="4000">
                <a:solidFill>
                  <a:srgbClr val="C00000"/>
                </a:solidFill>
              </a:rPr>
            </a:br>
            <a:r>
              <a:rPr lang="nl-NL" sz="2000">
                <a:solidFill>
                  <a:srgbClr val="000000"/>
                </a:solidFill>
              </a:rPr>
              <a:t>De ICT stelt de Raad in staat om een kenniscentrum te kunnen zijn</a:t>
            </a:r>
            <a:endParaRPr lang="nl-NL" sz="4000">
              <a:solidFill>
                <a:srgbClr val="C00000"/>
              </a:solidFill>
            </a:endParaRPr>
          </a:p>
        </p:txBody>
      </p:sp>
      <p:sp>
        <p:nvSpPr>
          <p:cNvPr id="7" name="Tijdelijke aanduiding voor inhoud 8">
            <a:extLst>
              <a:ext uri="{FF2B5EF4-FFF2-40B4-BE49-F238E27FC236}">
                <a16:creationId xmlns:a16="http://schemas.microsoft.com/office/drawing/2014/main" id="{344CAF83-C76F-4774-AB75-4B69878520BC}"/>
              </a:ext>
            </a:extLst>
          </p:cNvPr>
          <p:cNvSpPr txBox="1">
            <a:spLocks/>
          </p:cNvSpPr>
          <p:nvPr/>
        </p:nvSpPr>
        <p:spPr>
          <a:xfrm>
            <a:off x="5852160" y="1370846"/>
            <a:ext cx="5719088" cy="4525963"/>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just">
              <a:buNone/>
            </a:pPr>
            <a:r>
              <a:rPr lang="nl-NL" sz="1600" kern="0" dirty="0"/>
              <a:t>In 2024 stelt de ICT de Raad in staat om een </a:t>
            </a:r>
            <a:r>
              <a:rPr lang="nl-NL" sz="1600" b="1" kern="0" dirty="0" smtClean="0">
                <a:solidFill>
                  <a:srgbClr val="C00000"/>
                </a:solidFill>
              </a:rPr>
              <a:t>kenniscentrum</a:t>
            </a:r>
            <a:r>
              <a:rPr lang="nl-NL" sz="1600" kern="0" dirty="0" smtClean="0"/>
              <a:t> </a:t>
            </a:r>
            <a:r>
              <a:rPr lang="nl-NL" sz="1600" kern="0" dirty="0"/>
              <a:t>te kunnen zijn. Op basis hiervan is het intern mogelijk om </a:t>
            </a:r>
            <a:r>
              <a:rPr lang="nl-NL" sz="1600" kern="0" dirty="0" err="1"/>
              <a:t>datagedreven</a:t>
            </a:r>
            <a:r>
              <a:rPr lang="nl-NL" sz="1600" kern="0" dirty="0"/>
              <a:t> beslissingen te </a:t>
            </a:r>
            <a:r>
              <a:rPr lang="nl-NL" sz="1600" kern="0" dirty="0" smtClean="0"/>
              <a:t>nemen en kan het stelsel ondersteund en continu verbeterd worden.</a:t>
            </a:r>
            <a:endParaRPr lang="nl-NL" sz="1600" kern="0" dirty="0"/>
          </a:p>
          <a:p>
            <a:pPr marL="0" indent="0" algn="just">
              <a:buFontTx/>
              <a:buNone/>
            </a:pPr>
            <a:endParaRPr lang="nl-NL" sz="1600" kern="0" dirty="0"/>
          </a:p>
          <a:p>
            <a:pPr algn="just">
              <a:buFont typeface="Wingdings" panose="05000000000000000000" pitchFamily="2" charset="2"/>
              <a:buChar char="ü"/>
            </a:pPr>
            <a:r>
              <a:rPr lang="nl-NL" sz="1600" kern="0" dirty="0"/>
              <a:t>We ontsluiten data uit de organisatie en keten door middel van </a:t>
            </a:r>
            <a:r>
              <a:rPr lang="nl-NL" sz="1600" b="1" kern="0" dirty="0">
                <a:solidFill>
                  <a:srgbClr val="C00000"/>
                </a:solidFill>
              </a:rPr>
              <a:t>data-allianties</a:t>
            </a:r>
            <a:r>
              <a:rPr lang="nl-NL" sz="1600" kern="0" dirty="0"/>
              <a:t>.</a:t>
            </a:r>
          </a:p>
          <a:p>
            <a:pPr algn="just">
              <a:buFont typeface="Wingdings" panose="05000000000000000000" pitchFamily="2" charset="2"/>
              <a:buChar char="ü"/>
            </a:pPr>
            <a:r>
              <a:rPr lang="nl-NL" sz="1600" kern="0" dirty="0"/>
              <a:t>We zorgen voor </a:t>
            </a:r>
            <a:r>
              <a:rPr lang="nl-NL" sz="1600" b="1" kern="0" dirty="0">
                <a:solidFill>
                  <a:srgbClr val="C00000"/>
                </a:solidFill>
              </a:rPr>
              <a:t>onbetwistbare data</a:t>
            </a:r>
            <a:r>
              <a:rPr lang="nl-NL" sz="1600" kern="0" dirty="0"/>
              <a:t> die betrouwbaarheid en zekerheid biedt.</a:t>
            </a:r>
          </a:p>
          <a:p>
            <a:pPr algn="just">
              <a:buFont typeface="Wingdings" panose="05000000000000000000" pitchFamily="2" charset="2"/>
              <a:buChar char="ü"/>
            </a:pPr>
            <a:r>
              <a:rPr lang="nl-NL" sz="1600" kern="0" dirty="0"/>
              <a:t>We bouwen aan </a:t>
            </a:r>
            <a:r>
              <a:rPr lang="nl-NL" sz="1600" b="1" kern="0" dirty="0">
                <a:solidFill>
                  <a:srgbClr val="C00000"/>
                </a:solidFill>
              </a:rPr>
              <a:t>data </a:t>
            </a:r>
            <a:r>
              <a:rPr lang="nl-NL" sz="1600" b="1" kern="0" dirty="0" err="1">
                <a:solidFill>
                  <a:srgbClr val="C00000"/>
                </a:solidFill>
              </a:rPr>
              <a:t>warehousing</a:t>
            </a:r>
            <a:r>
              <a:rPr lang="nl-NL" sz="1600" b="1" kern="0" dirty="0">
                <a:solidFill>
                  <a:srgbClr val="C00000"/>
                </a:solidFill>
              </a:rPr>
              <a:t> </a:t>
            </a:r>
            <a:r>
              <a:rPr lang="nl-NL" sz="1600" kern="0" dirty="0"/>
              <a:t>om de ontsloten data beschikbaar te stellen</a:t>
            </a:r>
            <a:r>
              <a:rPr lang="nl-NL" sz="1600" kern="0" dirty="0" smtClean="0"/>
              <a:t>.</a:t>
            </a:r>
          </a:p>
          <a:p>
            <a:pPr algn="just">
              <a:buFont typeface="Wingdings" panose="05000000000000000000" pitchFamily="2" charset="2"/>
              <a:buChar char="ü"/>
            </a:pPr>
            <a:r>
              <a:rPr lang="nl-NL" sz="1600" kern="0" dirty="0" smtClean="0"/>
              <a:t>We </a:t>
            </a:r>
            <a:r>
              <a:rPr lang="nl-NL" sz="1600" b="1" kern="0" dirty="0" smtClean="0">
                <a:solidFill>
                  <a:srgbClr val="FF0000"/>
                </a:solidFill>
              </a:rPr>
              <a:t>ondersteunen onze processen </a:t>
            </a:r>
            <a:r>
              <a:rPr lang="nl-NL" sz="1600" kern="0" dirty="0" smtClean="0"/>
              <a:t>d.m.v. data-technologieën </a:t>
            </a:r>
            <a:endParaRPr lang="nl-NL" sz="1600" kern="0" dirty="0"/>
          </a:p>
          <a:p>
            <a:pPr algn="just">
              <a:buFont typeface="Wingdings" panose="05000000000000000000" pitchFamily="2" charset="2"/>
              <a:buChar char="ü"/>
            </a:pPr>
            <a:r>
              <a:rPr lang="nl-NL" sz="1600" kern="0" dirty="0"/>
              <a:t>We richten </a:t>
            </a:r>
            <a:r>
              <a:rPr lang="nl-NL" sz="1600" b="1" kern="0" dirty="0">
                <a:solidFill>
                  <a:srgbClr val="C00000"/>
                </a:solidFill>
              </a:rPr>
              <a:t>data </a:t>
            </a:r>
            <a:r>
              <a:rPr lang="nl-NL" sz="1600" b="1" kern="0" dirty="0" err="1">
                <a:solidFill>
                  <a:srgbClr val="C00000"/>
                </a:solidFill>
              </a:rPr>
              <a:t>analytics</a:t>
            </a:r>
            <a:r>
              <a:rPr lang="nl-NL" sz="1600" b="1" kern="0" dirty="0">
                <a:solidFill>
                  <a:srgbClr val="C00000"/>
                </a:solidFill>
              </a:rPr>
              <a:t> en data </a:t>
            </a:r>
            <a:r>
              <a:rPr lang="nl-NL" sz="1600" b="1" kern="0" dirty="0" err="1">
                <a:solidFill>
                  <a:srgbClr val="C00000"/>
                </a:solidFill>
              </a:rPr>
              <a:t>science</a:t>
            </a:r>
            <a:r>
              <a:rPr lang="nl-NL" sz="1600" b="1" kern="0" dirty="0">
                <a:solidFill>
                  <a:srgbClr val="C00000"/>
                </a:solidFill>
              </a:rPr>
              <a:t> </a:t>
            </a:r>
            <a:r>
              <a:rPr lang="nl-NL" sz="1600" kern="0" dirty="0"/>
              <a:t>in voor de toepassing van de beschikbare data</a:t>
            </a:r>
            <a:r>
              <a:rPr lang="nl-NL" sz="1600" kern="0" dirty="0" smtClean="0"/>
              <a:t>.</a:t>
            </a:r>
          </a:p>
          <a:p>
            <a:pPr algn="just">
              <a:buFont typeface="Wingdings" panose="05000000000000000000" pitchFamily="2" charset="2"/>
              <a:buChar char="ü"/>
            </a:pPr>
            <a:r>
              <a:rPr lang="nl-NL" sz="1600" kern="0" dirty="0" smtClean="0"/>
              <a:t>We voeren </a:t>
            </a:r>
            <a:r>
              <a:rPr lang="nl-NL" sz="1600" b="1" kern="0" dirty="0">
                <a:solidFill>
                  <a:srgbClr val="C00000"/>
                </a:solidFill>
              </a:rPr>
              <a:t>regie op data </a:t>
            </a:r>
            <a:r>
              <a:rPr lang="nl-NL" sz="1600" kern="0" dirty="0" smtClean="0"/>
              <a:t>door een visie op data en een handelingsperspectief</a:t>
            </a:r>
            <a:endParaRPr lang="nl-NL" sz="1600" kern="0" dirty="0"/>
          </a:p>
        </p:txBody>
      </p:sp>
      <p:pic>
        <p:nvPicPr>
          <p:cNvPr id="9" name="Afbeelding 8">
            <a:extLst>
              <a:ext uri="{FF2B5EF4-FFF2-40B4-BE49-F238E27FC236}">
                <a16:creationId xmlns:a16="http://schemas.microsoft.com/office/drawing/2014/main" id="{50376676-BF5B-4A84-A827-3A70FBD996DB}"/>
              </a:ext>
            </a:extLst>
          </p:cNvPr>
          <p:cNvPicPr>
            <a:picLocks noChangeAspect="1"/>
          </p:cNvPicPr>
          <p:nvPr/>
        </p:nvPicPr>
        <p:blipFill rotWithShape="1">
          <a:blip r:embed="rId7"/>
          <a:srcRect l="11349" t="6368" r="9576" b="24655"/>
          <a:stretch/>
        </p:blipFill>
        <p:spPr>
          <a:xfrm rot="16200000">
            <a:off x="938875" y="1497974"/>
            <a:ext cx="4067254" cy="4730413"/>
          </a:xfrm>
          <a:prstGeom prst="rect">
            <a:avLst/>
          </a:prstGeom>
        </p:spPr>
      </p:pic>
    </p:spTree>
    <p:extLst>
      <p:ext uri="{BB962C8B-B14F-4D97-AF65-F5344CB8AC3E}">
        <p14:creationId xmlns:p14="http://schemas.microsoft.com/office/powerpoint/2010/main" val="1721779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H4VT9s3nficHjxVDNB_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5r7b.GZLiJoBfUci4NB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kaNrtZIXZIemZyNdhRl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JURV34JqUQnStGxPEb0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U7TsTI5MIgCQmZ8Y0KO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D_KvavbzcOfYugmhx1D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xeWATMO6OhjceNMJCEA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K_d4vGDyidlNU5toDka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Zv2Emfq36BKG1MEhSPk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Zv2Emfq36BKG1MEhSPk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P6qph8srz0io7DnPG63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Zv2Emfq36BKG1MEhSPk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X6N2hd9ZNfQ30KB2Tby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X6N2hd9ZNfQ30KB2Tby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UlWGUAcr21HMymPHlfc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GLn45OulnVFH_eXdb8Y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j5E4SgJf8Kqy4.DmhKS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Zv2Emfq36BKG1MEhSPk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DY6edzDZYy86OiQeBZt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vrZt1DMIYPPD58JSf04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QfcgVDN.CM9FO8zldjb6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Zv2Emfq36BKG1MEhSPk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Zv2Emfq36BKG1MEhSPk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UlWGUAcr21HMymPHlfc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C8cmIAoUQtm1SlT5Brw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RwgeWdp_BdPM97iOyKUe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acDhb_gbxycMF.nyXyS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_0YEvnIG52e5boyv_mEjQ"/>
</p:tagLst>
</file>

<file path=ppt/theme/theme1.xml><?xml version="1.0" encoding="utf-8"?>
<a:theme xmlns:a="http://schemas.openxmlformats.org/drawingml/2006/main" name="RvR">
  <a:themeElements>
    <a:clrScheme name="RvR sjablo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RvR sjabloon">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vR sjablo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vR sjablo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RvR sjablo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RvR sjablo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RvR sjablo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RvR sjablo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RvR sjablo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RvR sjablo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RvR sjablo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RvR sjablo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RvR sjablo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RvR sjablo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RvR" id="{24A4315E-62FF-4326-9C7A-327D7170DEC6}" vid="{A61C6CCB-D3A5-4D45-9FE7-827B3F1E25AC}"/>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970A7B9FE1FC642A96A481AF6DFE7B6" ma:contentTypeVersion="13" ma:contentTypeDescription="Een nieuw document maken." ma:contentTypeScope="" ma:versionID="4d5af692724cc8e60b8fc4638c2ce450">
  <xsd:schema xmlns:xsd="http://www.w3.org/2001/XMLSchema" xmlns:xs="http://www.w3.org/2001/XMLSchema" xmlns:p="http://schemas.microsoft.com/office/2006/metadata/properties" xmlns:ns3="4db892f2-a0f8-4928-b1c2-dcb1b310dc28" xmlns:ns4="1ca3527f-92c0-4714-90ff-f8d26fba4e30" targetNamespace="http://schemas.microsoft.com/office/2006/metadata/properties" ma:root="true" ma:fieldsID="568a4a890a51f703529e80410b0f8643" ns3:_="" ns4:_="">
    <xsd:import namespace="4db892f2-a0f8-4928-b1c2-dcb1b310dc28"/>
    <xsd:import namespace="1ca3527f-92c0-4714-90ff-f8d26fba4e30"/>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b892f2-a0f8-4928-b1c2-dcb1b310dc28"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element name="SharingHintHash" ma:index="10" nillable="true" ma:displayName="Hint-hash delen" ma:description="" ma:hidden="true" ma:internalName="SharingHintHash" ma:readOnly="true">
      <xsd:simpleType>
        <xsd:restriction base="dms:Text"/>
      </xsd:simpleType>
    </xsd:element>
    <xsd:element name="LastSharedByUser" ma:index="11" nillable="true" ma:displayName="Laatst gedeeld, per gebruiker" ma:description="" ma:internalName="LastSharedByUser" ma:readOnly="true">
      <xsd:simpleType>
        <xsd:restriction base="dms:Note">
          <xsd:maxLength value="255"/>
        </xsd:restriction>
      </xsd:simpleType>
    </xsd:element>
    <xsd:element name="LastSharedByTime" ma:index="12" nillable="true" ma:displayName="Laatst gedeeld, per tijdstip"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ca3527f-92c0-4714-90ff-f8d26fba4e30"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db892f2-a0f8-4928-b1c2-dcb1b310dc28">
      <UserInfo>
        <DisplayName>Renée van Poppel</DisplayName>
        <AccountId>37</AccountId>
        <AccountType/>
      </UserInfo>
      <UserInfo>
        <DisplayName>Geerten Peek</DisplayName>
        <AccountId>649</AccountId>
        <AccountType/>
      </UserInfo>
      <UserInfo>
        <DisplayName>Gert van Beek</DisplayName>
        <AccountId>74</AccountId>
        <AccountType/>
      </UserInfo>
      <UserInfo>
        <DisplayName>Menno van Drunen</DisplayName>
        <AccountId>39</AccountId>
        <AccountType/>
      </UserInfo>
    </SharedWithUsers>
  </documentManagement>
</p:properties>
</file>

<file path=customXml/itemProps1.xml><?xml version="1.0" encoding="utf-8"?>
<ds:datastoreItem xmlns:ds="http://schemas.openxmlformats.org/officeDocument/2006/customXml" ds:itemID="{13EDC610-4F82-4652-BA6D-0EDF25B4899A}">
  <ds:schemaRefs>
    <ds:schemaRef ds:uri="http://schemas.microsoft.com/sharepoint/v3/contenttype/forms"/>
  </ds:schemaRefs>
</ds:datastoreItem>
</file>

<file path=customXml/itemProps2.xml><?xml version="1.0" encoding="utf-8"?>
<ds:datastoreItem xmlns:ds="http://schemas.openxmlformats.org/officeDocument/2006/customXml" ds:itemID="{BE07EEF4-3E8E-48BC-93A6-E4C00A8373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b892f2-a0f8-4928-b1c2-dcb1b310dc28"/>
    <ds:schemaRef ds:uri="1ca3527f-92c0-4714-90ff-f8d26fba4e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B06B07-1EE1-4037-8340-A6E0505D328A}">
  <ds:schemaRefs>
    <ds:schemaRef ds:uri="http://schemas.microsoft.com/office/2006/metadata/properties"/>
    <ds:schemaRef ds:uri="http://purl.org/dc/terms/"/>
    <ds:schemaRef ds:uri="http://schemas.openxmlformats.org/package/2006/metadata/core-properties"/>
    <ds:schemaRef ds:uri="1ca3527f-92c0-4714-90ff-f8d26fba4e30"/>
    <ds:schemaRef ds:uri="http://schemas.microsoft.com/office/2006/documentManagement/types"/>
    <ds:schemaRef ds:uri="http://schemas.microsoft.com/office/infopath/2007/PartnerControls"/>
    <ds:schemaRef ds:uri="http://purl.org/dc/elements/1.1/"/>
    <ds:schemaRef ds:uri="4db892f2-a0f8-4928-b1c2-dcb1b310dc2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vR</Template>
  <TotalTime>0</TotalTime>
  <Words>4566</Words>
  <Application>Microsoft Office PowerPoint</Application>
  <PresentationFormat>Breedbeeld</PresentationFormat>
  <Paragraphs>882</Paragraphs>
  <Slides>36</Slides>
  <Notes>9</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36</vt:i4>
      </vt:variant>
    </vt:vector>
  </HeadingPairs>
  <TitlesOfParts>
    <vt:vector size="43" baseType="lpstr">
      <vt:lpstr>Arial</vt:lpstr>
      <vt:lpstr>Calibri</vt:lpstr>
      <vt:lpstr>Frutiger Bold Condensed</vt:lpstr>
      <vt:lpstr>Verdana</vt:lpstr>
      <vt:lpstr>Wingdings</vt:lpstr>
      <vt:lpstr>RvR</vt:lpstr>
      <vt:lpstr>think-cell Slide</vt:lpstr>
      <vt:lpstr>I-Strategie en I-Plan  Raad voor Rechtsbijstand 2021-2025</vt:lpstr>
      <vt:lpstr>Ontwikkelingen De omgeving waarin de Raad voor Rechtsbijstand werkt verandert</vt:lpstr>
      <vt:lpstr>Missie en kernwaarden In een wereld die om ons heen verandert, staat de burger altijd centraal</vt:lpstr>
      <vt:lpstr>Toekomst De Raad maakt zich klaar om ook in de toekomst de burger centraal te stellen</vt:lpstr>
      <vt:lpstr>ICT De ICT die de Raad nodig heeft voor de werkzaamheden in 2024</vt:lpstr>
      <vt:lpstr>Roadmap Met een drietal doelen werkt de Raad naar de gewenste ICT in 2024</vt:lpstr>
      <vt:lpstr>De basis op orde in ICT Met de basis op orde ontstaat ruimte voor innovatie en vernieuwing</vt:lpstr>
      <vt:lpstr>Vernieuwing van ICT Vernieuwde ICT maakt excellente uitvoering en wendbaarheid mogelijk </vt:lpstr>
      <vt:lpstr>ICT ontsluit data De ICT stelt de Raad in staat om een kenniscentrum te kunnen zijn</vt:lpstr>
      <vt:lpstr>Een vijfjarenplan op grote lijnen Om de roadmap te vertalen naar concrete actielijnen</vt:lpstr>
      <vt:lpstr>Vijfjarenplan | Basis op orde In 2024 is de basis op orde in ICT zodat er ruimte is voor innovatie en vernieuwing. Dat omvat een landschap bestaande uit de technologieën waarmee we werken, processen waarlangs we werken en uitgangspunten die we hanteren.</vt:lpstr>
      <vt:lpstr>Vijfjarenplan | Vernieuwing In 2024 maken we een excellente uitvoering en wendbaarheid mogelijk door de ICT te vernieuwen. In deze ontwikkeling van ICT is het niet meer de vraag wat kan, maar de vraag wat mag en wat we willen. We kijken daarbij naar vernieuwing die onze doelen ondersteunt.</vt:lpstr>
      <vt:lpstr>Vijfjarenplan | Data In 2024 stelt de ICT de Raad in staat om een intern en extern kenniscentrum te kunnen zijn. Op basis hiervan is het intern mogelijk om datagedreven beslissingen te nemen en kunnen extern ketenpartners datagedreven geadviseerd worden.</vt:lpstr>
      <vt:lpstr>Versiebeheer</vt:lpstr>
      <vt:lpstr>Wie hebben we gesproken</vt:lpstr>
      <vt:lpstr>I-Plan 2021 Raad voor Rechtsbijstand</vt:lpstr>
      <vt:lpstr>De I-Strategie in het kort</vt:lpstr>
      <vt:lpstr>Vijfjarenplan | Basis op orde In 2024 is de basis op orde in ICT zodat er ruimte is voor innovatie en vernieuwing. Dat omvat een landschap bestaande uit de technologieën waarmee we werken, processen waarlangs we werken en uitgangspunten die we hanteren.</vt:lpstr>
      <vt:lpstr>Architectuur</vt:lpstr>
      <vt:lpstr>Informatiebeveiliging en Privacy  (IBP)</vt:lpstr>
      <vt:lpstr>Modernisering</vt:lpstr>
      <vt:lpstr>Digitalisering</vt:lpstr>
      <vt:lpstr>Organisatie</vt:lpstr>
      <vt:lpstr>Vijfjarenplan | Vernieuwing In 2024 maken we een excellente uitvoering en wendbaarheid mogelijk door de ICT te vernieuwen. In deze ontwikkeling van ICT is het niet meer de vraag wat kan, maar de vraag wat mag en wat we willen. We kijken daarbij naar vernieuwing die onze doelen ondersteunt.</vt:lpstr>
      <vt:lpstr>Ketensamenwerking</vt:lpstr>
      <vt:lpstr>Automatisering</vt:lpstr>
      <vt:lpstr>Zelfhulp</vt:lpstr>
      <vt:lpstr>Infrastructuur</vt:lpstr>
      <vt:lpstr>Werkplekbeheer</vt:lpstr>
      <vt:lpstr>Vijfjarenplan | Data In 2024 stelt de ICT de Raad in staat om een intern en extern kenniscentrum te kunnen zijn. Op basis hiervan is het intern mogelijk om datagedreven beslissingen te nemen en kunnen extern ketenpartners datagedreven geadviseerd worden.</vt:lpstr>
      <vt:lpstr>Data-allianties</vt:lpstr>
      <vt:lpstr>Onbetwistbare data</vt:lpstr>
      <vt:lpstr>Data warehousing</vt:lpstr>
      <vt:lpstr>Data analytics &amp; science</vt:lpstr>
      <vt:lpstr>I-Plan 2021-2024 | Ontwikkelpunten</vt:lpstr>
      <vt:lpstr>Referentiematr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urriaan Vogel</dc:creator>
  <cp:lastModifiedBy>Nuray Karadirek</cp:lastModifiedBy>
  <cp:revision>43</cp:revision>
  <dcterms:created xsi:type="dcterms:W3CDTF">2020-03-11T13:27:43Z</dcterms:created>
  <dcterms:modified xsi:type="dcterms:W3CDTF">2021-03-18T13:4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70A7B9FE1FC642A96A481AF6DFE7B6</vt:lpwstr>
  </property>
</Properties>
</file>